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</p:sldMasterIdLst>
  <p:notesMasterIdLst>
    <p:notesMasterId r:id="rId65"/>
  </p:notesMasterIdLst>
  <p:sldIdLst>
    <p:sldId id="2134808265" r:id="rId5"/>
    <p:sldId id="2134808281" r:id="rId6"/>
    <p:sldId id="2134808266" r:id="rId7"/>
    <p:sldId id="2134808267" r:id="rId8"/>
    <p:sldId id="2134808443" r:id="rId9"/>
    <p:sldId id="2134808284" r:id="rId10"/>
    <p:sldId id="2134808438" r:id="rId11"/>
    <p:sldId id="2134808268" r:id="rId12"/>
    <p:sldId id="2134806282" r:id="rId13"/>
    <p:sldId id="2134808270" r:id="rId14"/>
    <p:sldId id="2134808271" r:id="rId15"/>
    <p:sldId id="2134808285" r:id="rId16"/>
    <p:sldId id="2134808273" r:id="rId17"/>
    <p:sldId id="2134808849" r:id="rId18"/>
    <p:sldId id="2134807223" r:id="rId19"/>
    <p:sldId id="2134808870" r:id="rId20"/>
    <p:sldId id="2134808951" r:id="rId21"/>
    <p:sldId id="2134808846" r:id="rId22"/>
    <p:sldId id="2134808901" r:id="rId23"/>
    <p:sldId id="2134808902" r:id="rId24"/>
    <p:sldId id="2134808903" r:id="rId25"/>
    <p:sldId id="2134808904" r:id="rId26"/>
    <p:sldId id="2134808852" r:id="rId27"/>
    <p:sldId id="2134808851" r:id="rId28"/>
    <p:sldId id="2134808949" r:id="rId29"/>
    <p:sldId id="2134806216" r:id="rId30"/>
    <p:sldId id="2134808933" r:id="rId31"/>
    <p:sldId id="2134808948" r:id="rId32"/>
    <p:sldId id="2134808935" r:id="rId33"/>
    <p:sldId id="2134808952" r:id="rId34"/>
    <p:sldId id="2134808633" r:id="rId35"/>
    <p:sldId id="2134808634" r:id="rId36"/>
    <p:sldId id="2134808635" r:id="rId37"/>
    <p:sldId id="2134808636" r:id="rId38"/>
    <p:sldId id="2134808959" r:id="rId39"/>
    <p:sldId id="2134808587" r:id="rId40"/>
    <p:sldId id="2134808960" r:id="rId41"/>
    <p:sldId id="2134808857" r:id="rId42"/>
    <p:sldId id="2134805975" r:id="rId43"/>
    <p:sldId id="2134805827" r:id="rId44"/>
    <p:sldId id="2134805828" r:id="rId45"/>
    <p:sldId id="2134805527" r:id="rId46"/>
    <p:sldId id="2134805896" r:id="rId47"/>
    <p:sldId id="2134805897" r:id="rId48"/>
    <p:sldId id="2134808914" r:id="rId49"/>
    <p:sldId id="2134805528" r:id="rId50"/>
    <p:sldId id="2134808436" r:id="rId51"/>
    <p:sldId id="2134805829" r:id="rId52"/>
    <p:sldId id="2134805530" r:id="rId53"/>
    <p:sldId id="2134808433" r:id="rId54"/>
    <p:sldId id="2134808434" r:id="rId55"/>
    <p:sldId id="2134808956" r:id="rId56"/>
    <p:sldId id="2134808957" r:id="rId57"/>
    <p:sldId id="2134808431" r:id="rId58"/>
    <p:sldId id="2134808425" r:id="rId59"/>
    <p:sldId id="2134807509" r:id="rId60"/>
    <p:sldId id="2134808958" r:id="rId61"/>
    <p:sldId id="2134808775" r:id="rId62"/>
    <p:sldId id="2134808474" r:id="rId63"/>
    <p:sldId id="2147482339" r:id="rId64"/>
  </p:sldIdLst>
  <p:sldSz cx="13716000" cy="10287000"/>
  <p:notesSz cx="6858000" cy="9144000"/>
  <p:embeddedFontLst>
    <p:embeddedFont>
      <p:font typeface="Cambria" panose="02040503050406030204" pitchFamily="18" charset="0"/>
      <p:regular r:id="rId66"/>
      <p:bold r:id="rId67"/>
      <p:italic r:id="rId68"/>
      <p:boldItalic r:id="rId69"/>
    </p:embeddedFont>
    <p:embeddedFont>
      <p:font typeface="Carelia" panose="020B0604020202020204" charset="0"/>
      <p:regular r:id="rId70"/>
    </p:embeddedFont>
    <p:embeddedFont>
      <p:font typeface="Dosis" pitchFamily="2" charset="0"/>
      <p:regular r:id="rId71"/>
      <p:bold r:id="rId72"/>
    </p:embeddedFont>
    <p:embeddedFont>
      <p:font typeface="Dosis Bold" charset="0"/>
      <p:regular r:id="rId73"/>
      <p:bold r:id="rId74"/>
    </p:embeddedFont>
    <p:embeddedFont>
      <p:font typeface="KG Primary Penmanship Alt" panose="020B0604020202020204" charset="0"/>
      <p:regular r:id="rId75"/>
    </p:embeddedFont>
    <p:embeddedFont>
      <p:font typeface="Montserrat" panose="00000500000000000000" pitchFamily="2" charset="0"/>
      <p:regular r:id="rId76"/>
      <p:bold r:id="rId77"/>
      <p:italic r:id="rId78"/>
      <p:boldItalic r:id="rId79"/>
    </p:embeddedFont>
    <p:embeddedFont>
      <p:font typeface="Traditional Arabic" panose="02020603050405020304" pitchFamily="18" charset="-78"/>
      <p:regular r:id="rId80"/>
      <p:bold r:id="rId81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803F"/>
    <a:srgbClr val="F2F2F2"/>
    <a:srgbClr val="7F7F7F"/>
    <a:srgbClr val="106584"/>
    <a:srgbClr val="FDEADA"/>
    <a:srgbClr val="FFFFFF"/>
    <a:srgbClr val="F7F1BD"/>
    <a:srgbClr val="106585"/>
    <a:srgbClr val="426C7C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72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1238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font" Target="fonts/font3.fntdata"/><Relationship Id="rId84" Type="http://schemas.openxmlformats.org/officeDocument/2006/relationships/theme" Target="theme/theme1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font" Target="fonts/font9.fntdata"/><Relationship Id="rId79" Type="http://schemas.openxmlformats.org/officeDocument/2006/relationships/font" Target="fonts/font14.fntdata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font" Target="fonts/font4.fntdata"/><Relationship Id="rId77" Type="http://schemas.openxmlformats.org/officeDocument/2006/relationships/font" Target="fonts/font12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font" Target="fonts/font7.fntdata"/><Relationship Id="rId80" Type="http://schemas.openxmlformats.org/officeDocument/2006/relationships/font" Target="fonts/font15.fntdata"/><Relationship Id="rId85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font" Target="fonts/font2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font" Target="fonts/font5.fntdata"/><Relationship Id="rId75" Type="http://schemas.openxmlformats.org/officeDocument/2006/relationships/font" Target="fonts/font10.fntdata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notesMaster" Target="notesMasters/notesMaster1.xml"/><Relationship Id="rId73" Type="http://schemas.openxmlformats.org/officeDocument/2006/relationships/font" Target="fonts/font8.fntdata"/><Relationship Id="rId78" Type="http://schemas.openxmlformats.org/officeDocument/2006/relationships/font" Target="fonts/font13.fntdata"/><Relationship Id="rId81" Type="http://schemas.openxmlformats.org/officeDocument/2006/relationships/font" Target="fonts/font16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font" Target="fonts/font11.fntdata"/><Relationship Id="rId7" Type="http://schemas.openxmlformats.org/officeDocument/2006/relationships/slide" Target="slides/slide3.xml"/><Relationship Id="rId71" Type="http://schemas.openxmlformats.org/officeDocument/2006/relationships/font" Target="fonts/font6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font" Target="fonts/font1.fntdata"/><Relationship Id="rId61" Type="http://schemas.openxmlformats.org/officeDocument/2006/relationships/slide" Target="slides/slide57.xml"/><Relationship Id="rId8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12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7109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6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6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4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169040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9.sv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10" Type="http://schemas.openxmlformats.org/officeDocument/2006/relationships/tags" Target="../tags/tag11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7.xml"/><Relationship Id="rId10" Type="http://schemas.openxmlformats.org/officeDocument/2006/relationships/image" Target="../media/image8.png"/><Relationship Id="rId4" Type="http://schemas.openxmlformats.org/officeDocument/2006/relationships/tags" Target="../tags/tag106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36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6.svg"/><Relationship Id="rId5" Type="http://schemas.openxmlformats.org/officeDocument/2006/relationships/tags" Target="../tags/tag112.xml"/><Relationship Id="rId10" Type="http://schemas.openxmlformats.org/officeDocument/2006/relationships/image" Target="../media/image15.png"/><Relationship Id="rId4" Type="http://schemas.openxmlformats.org/officeDocument/2006/relationships/tags" Target="../tags/tag111.xml"/><Relationship Id="rId9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image" Target="../media/image16.svg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15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5.jpeg"/><Relationship Id="rId5" Type="http://schemas.openxmlformats.org/officeDocument/2006/relationships/tags" Target="../tags/tag119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6.xml"/><Relationship Id="rId7" Type="http://schemas.openxmlformats.org/officeDocument/2006/relationships/image" Target="../media/image5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8.xml"/><Relationship Id="rId10" Type="http://schemas.openxmlformats.org/officeDocument/2006/relationships/image" Target="../media/image8.png"/><Relationship Id="rId4" Type="http://schemas.openxmlformats.org/officeDocument/2006/relationships/tags" Target="../tags/tag127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29.sv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5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5.jpeg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image" Target="../media/image37.png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image" Target="../media/image16.sv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image" Target="../media/image15.png"/><Relationship Id="rId5" Type="http://schemas.openxmlformats.org/officeDocument/2006/relationships/tags" Target="../tags/tag162.xml"/><Relationship Id="rId15" Type="http://schemas.openxmlformats.org/officeDocument/2006/relationships/image" Target="../media/image39.png"/><Relationship Id="rId10" Type="http://schemas.openxmlformats.org/officeDocument/2006/relationships/image" Target="../media/image5.jpeg"/><Relationship Id="rId4" Type="http://schemas.openxmlformats.org/officeDocument/2006/relationships/tags" Target="../tags/tag161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8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image" Target="../media/image8.png"/><Relationship Id="rId5" Type="http://schemas.openxmlformats.org/officeDocument/2006/relationships/tags" Target="../tags/tag170.xml"/><Relationship Id="rId10" Type="http://schemas.openxmlformats.org/officeDocument/2006/relationships/image" Target="../media/image7.svg"/><Relationship Id="rId4" Type="http://schemas.openxmlformats.org/officeDocument/2006/relationships/tags" Target="../tags/tag169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image" Target="../media/image5.jpeg"/><Relationship Id="rId18" Type="http://schemas.openxmlformats.org/officeDocument/2006/relationships/image" Target="../media/image42.png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41.svg"/><Relationship Id="rId2" Type="http://schemas.openxmlformats.org/officeDocument/2006/relationships/tags" Target="../tags/tag173.xml"/><Relationship Id="rId16" Type="http://schemas.openxmlformats.org/officeDocument/2006/relationships/image" Target="../media/image40.png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5" Type="http://schemas.openxmlformats.org/officeDocument/2006/relationships/image" Target="../media/image29.svg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image" Target="../media/image43.png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19.svg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image" Target="../media/image18.png"/><Relationship Id="rId5" Type="http://schemas.openxmlformats.org/officeDocument/2006/relationships/tags" Target="../tags/tag187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194.xml"/><Relationship Id="rId7" Type="http://schemas.openxmlformats.org/officeDocument/2006/relationships/image" Target="../media/image18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6.xml"/><Relationship Id="rId4" Type="http://schemas.openxmlformats.org/officeDocument/2006/relationships/tags" Target="../tags/tag195.xml"/><Relationship Id="rId9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7.svg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6.png"/><Relationship Id="rId5" Type="http://schemas.openxmlformats.org/officeDocument/2006/relationships/tags" Target="../tags/tag18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199.xml"/><Relationship Id="rId7" Type="http://schemas.openxmlformats.org/officeDocument/2006/relationships/image" Target="../media/image18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1.xml"/><Relationship Id="rId4" Type="http://schemas.openxmlformats.org/officeDocument/2006/relationships/tags" Target="../tags/tag200.xml"/><Relationship Id="rId9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204.xml"/><Relationship Id="rId7" Type="http://schemas.openxmlformats.org/officeDocument/2006/relationships/image" Target="../media/image18.png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6.xml"/><Relationship Id="rId4" Type="http://schemas.openxmlformats.org/officeDocument/2006/relationships/tags" Target="../tags/tag205.xml"/><Relationship Id="rId9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209.xml"/><Relationship Id="rId7" Type="http://schemas.openxmlformats.org/officeDocument/2006/relationships/image" Target="../media/image18.png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11.xml"/><Relationship Id="rId4" Type="http://schemas.openxmlformats.org/officeDocument/2006/relationships/tags" Target="../tags/tag210.xml"/><Relationship Id="rId9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14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6.png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1" Type="http://schemas.openxmlformats.org/officeDocument/2006/relationships/image" Target="../media/image45.png"/><Relationship Id="rId5" Type="http://schemas.openxmlformats.org/officeDocument/2006/relationships/tags" Target="../tags/tag216.xml"/><Relationship Id="rId10" Type="http://schemas.openxmlformats.org/officeDocument/2006/relationships/image" Target="../media/image22.png"/><Relationship Id="rId4" Type="http://schemas.openxmlformats.org/officeDocument/2006/relationships/tags" Target="../tags/tag215.xml"/><Relationship Id="rId9" Type="http://schemas.openxmlformats.org/officeDocument/2006/relationships/image" Target="../media/image19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image" Target="../media/image19.svg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18.png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image" Target="../media/image46.png"/><Relationship Id="rId5" Type="http://schemas.openxmlformats.org/officeDocument/2006/relationships/tags" Target="../tags/tag222.xml"/><Relationship Id="rId10" Type="http://schemas.openxmlformats.org/officeDocument/2006/relationships/image" Target="../media/image45.png"/><Relationship Id="rId4" Type="http://schemas.openxmlformats.org/officeDocument/2006/relationships/tags" Target="../tags/tag221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228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image" Target="../media/image8.png"/><Relationship Id="rId5" Type="http://schemas.openxmlformats.org/officeDocument/2006/relationships/tags" Target="../tags/tag230.xml"/><Relationship Id="rId10" Type="http://schemas.openxmlformats.org/officeDocument/2006/relationships/image" Target="../media/image7.svg"/><Relationship Id="rId4" Type="http://schemas.openxmlformats.org/officeDocument/2006/relationships/tags" Target="../tags/tag229.xml"/><Relationship Id="rId9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1.svg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image" Target="../media/image40.png"/><Relationship Id="rId2" Type="http://schemas.openxmlformats.org/officeDocument/2006/relationships/tags" Target="../tags/tag233.xml"/><Relationship Id="rId16" Type="http://schemas.openxmlformats.org/officeDocument/2006/relationships/image" Target="../media/image29.svg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5" Type="http://schemas.openxmlformats.org/officeDocument/2006/relationships/image" Target="../media/image15.png"/><Relationship Id="rId10" Type="http://schemas.openxmlformats.org/officeDocument/2006/relationships/tags" Target="../tags/tag241.xml"/><Relationship Id="rId19" Type="http://schemas.openxmlformats.org/officeDocument/2006/relationships/image" Target="../media/image42.png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image" Target="../media/image5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9.png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image" Target="../media/image48.PNG"/><Relationship Id="rId2" Type="http://schemas.openxmlformats.org/officeDocument/2006/relationships/tags" Target="../tags/tag245.xml"/><Relationship Id="rId16" Type="http://schemas.openxmlformats.org/officeDocument/2006/relationships/image" Target="../media/image47.png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5" Type="http://schemas.openxmlformats.org/officeDocument/2006/relationships/tags" Target="../tags/tag248.xml"/><Relationship Id="rId15" Type="http://schemas.openxmlformats.org/officeDocument/2006/relationships/image" Target="../media/image19.svg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tags" Target="../tags/tag266.xml"/><Relationship Id="rId18" Type="http://schemas.openxmlformats.org/officeDocument/2006/relationships/image" Target="../media/image47.png"/><Relationship Id="rId3" Type="http://schemas.openxmlformats.org/officeDocument/2006/relationships/tags" Target="../tags/tag258.xml"/><Relationship Id="rId21" Type="http://schemas.openxmlformats.org/officeDocument/2006/relationships/image" Target="../media/image50.png"/><Relationship Id="rId7" Type="http://schemas.openxmlformats.org/officeDocument/2006/relationships/tags" Target="../tags/tag262.xml"/><Relationship Id="rId12" Type="http://schemas.openxmlformats.org/officeDocument/2006/relationships/tags" Target="../tags/tag265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57.xml"/><Relationship Id="rId16" Type="http://schemas.openxmlformats.org/officeDocument/2006/relationships/tags" Target="../tags/tag269.xml"/><Relationship Id="rId20" Type="http://schemas.openxmlformats.org/officeDocument/2006/relationships/image" Target="../media/image49.png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11" Type="http://schemas.openxmlformats.org/officeDocument/2006/relationships/tags" Target="../tags/tag264.xml"/><Relationship Id="rId5" Type="http://schemas.openxmlformats.org/officeDocument/2006/relationships/tags" Target="../tags/tag260.xml"/><Relationship Id="rId15" Type="http://schemas.openxmlformats.org/officeDocument/2006/relationships/tags" Target="../tags/tag268.xml"/><Relationship Id="rId10" Type="http://schemas.openxmlformats.org/officeDocument/2006/relationships/audio" Target="../media/media1.wav"/><Relationship Id="rId19" Type="http://schemas.openxmlformats.org/officeDocument/2006/relationships/image" Target="../media/image48.PNG"/><Relationship Id="rId4" Type="http://schemas.openxmlformats.org/officeDocument/2006/relationships/tags" Target="../tags/tag259.xml"/><Relationship Id="rId9" Type="http://schemas.microsoft.com/office/2007/relationships/media" Target="../media/media1.wav"/><Relationship Id="rId14" Type="http://schemas.openxmlformats.org/officeDocument/2006/relationships/tags" Target="../tags/tag26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7.xml"/><Relationship Id="rId13" Type="http://schemas.openxmlformats.org/officeDocument/2006/relationships/image" Target="../media/image19.svg"/><Relationship Id="rId3" Type="http://schemas.openxmlformats.org/officeDocument/2006/relationships/tags" Target="../tags/tag272.xml"/><Relationship Id="rId7" Type="http://schemas.openxmlformats.org/officeDocument/2006/relationships/tags" Target="../tags/tag276.xml"/><Relationship Id="rId12" Type="http://schemas.openxmlformats.org/officeDocument/2006/relationships/image" Target="../media/image18.png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74.xml"/><Relationship Id="rId10" Type="http://schemas.openxmlformats.org/officeDocument/2006/relationships/tags" Target="../tags/tag279.xml"/><Relationship Id="rId4" Type="http://schemas.openxmlformats.org/officeDocument/2006/relationships/tags" Target="../tags/tag273.xml"/><Relationship Id="rId9" Type="http://schemas.openxmlformats.org/officeDocument/2006/relationships/tags" Target="../tags/tag278.xml"/><Relationship Id="rId14" Type="http://schemas.openxmlformats.org/officeDocument/2006/relationships/image" Target="../media/image51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13" Type="http://schemas.openxmlformats.org/officeDocument/2006/relationships/tags" Target="../tags/tag290.xml"/><Relationship Id="rId18" Type="http://schemas.openxmlformats.org/officeDocument/2006/relationships/image" Target="../media/image47.png"/><Relationship Id="rId3" Type="http://schemas.openxmlformats.org/officeDocument/2006/relationships/tags" Target="../tags/tag282.xml"/><Relationship Id="rId21" Type="http://schemas.openxmlformats.org/officeDocument/2006/relationships/image" Target="../media/image50.png"/><Relationship Id="rId7" Type="http://schemas.openxmlformats.org/officeDocument/2006/relationships/tags" Target="../tags/tag286.xml"/><Relationship Id="rId12" Type="http://schemas.openxmlformats.org/officeDocument/2006/relationships/tags" Target="../tags/tag289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81.xml"/><Relationship Id="rId16" Type="http://schemas.openxmlformats.org/officeDocument/2006/relationships/tags" Target="../tags/tag293.xml"/><Relationship Id="rId20" Type="http://schemas.openxmlformats.org/officeDocument/2006/relationships/image" Target="../media/image49.png"/><Relationship Id="rId1" Type="http://schemas.openxmlformats.org/officeDocument/2006/relationships/tags" Target="../tags/tag280.xml"/><Relationship Id="rId6" Type="http://schemas.openxmlformats.org/officeDocument/2006/relationships/tags" Target="../tags/tag285.xml"/><Relationship Id="rId11" Type="http://schemas.openxmlformats.org/officeDocument/2006/relationships/tags" Target="../tags/tag288.xml"/><Relationship Id="rId5" Type="http://schemas.openxmlformats.org/officeDocument/2006/relationships/tags" Target="../tags/tag284.xml"/><Relationship Id="rId15" Type="http://schemas.openxmlformats.org/officeDocument/2006/relationships/tags" Target="../tags/tag292.xml"/><Relationship Id="rId10" Type="http://schemas.openxmlformats.org/officeDocument/2006/relationships/audio" Target="../media/media1.wav"/><Relationship Id="rId19" Type="http://schemas.openxmlformats.org/officeDocument/2006/relationships/image" Target="../media/image48.PNG"/><Relationship Id="rId4" Type="http://schemas.openxmlformats.org/officeDocument/2006/relationships/tags" Target="../tags/tag283.xml"/><Relationship Id="rId9" Type="http://schemas.microsoft.com/office/2007/relationships/media" Target="../media/media1.wav"/><Relationship Id="rId14" Type="http://schemas.openxmlformats.org/officeDocument/2006/relationships/tags" Target="../tags/tag29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13" Type="http://schemas.openxmlformats.org/officeDocument/2006/relationships/tags" Target="../tags/tag306.xml"/><Relationship Id="rId18" Type="http://schemas.openxmlformats.org/officeDocument/2006/relationships/image" Target="../media/image47.png"/><Relationship Id="rId3" Type="http://schemas.openxmlformats.org/officeDocument/2006/relationships/tags" Target="../tags/tag296.xml"/><Relationship Id="rId21" Type="http://schemas.openxmlformats.org/officeDocument/2006/relationships/image" Target="../media/image53.png"/><Relationship Id="rId7" Type="http://schemas.openxmlformats.org/officeDocument/2006/relationships/tags" Target="../tags/tag300.xml"/><Relationship Id="rId12" Type="http://schemas.openxmlformats.org/officeDocument/2006/relationships/tags" Target="../tags/tag305.xml"/><Relationship Id="rId17" Type="http://schemas.openxmlformats.org/officeDocument/2006/relationships/image" Target="../media/image19.svg"/><Relationship Id="rId2" Type="http://schemas.openxmlformats.org/officeDocument/2006/relationships/tags" Target="../tags/tag295.xml"/><Relationship Id="rId16" Type="http://schemas.openxmlformats.org/officeDocument/2006/relationships/image" Target="../media/image18.png"/><Relationship Id="rId20" Type="http://schemas.openxmlformats.org/officeDocument/2006/relationships/image" Target="../media/image52.jpeg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11" Type="http://schemas.openxmlformats.org/officeDocument/2006/relationships/tags" Target="../tags/tag304.xml"/><Relationship Id="rId5" Type="http://schemas.openxmlformats.org/officeDocument/2006/relationships/tags" Target="../tags/tag298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03.xml"/><Relationship Id="rId19" Type="http://schemas.openxmlformats.org/officeDocument/2006/relationships/image" Target="../media/image49.png"/><Relationship Id="rId4" Type="http://schemas.openxmlformats.org/officeDocument/2006/relationships/tags" Target="../tags/tag297.xml"/><Relationship Id="rId9" Type="http://schemas.openxmlformats.org/officeDocument/2006/relationships/tags" Target="../tags/tag302.xml"/><Relationship Id="rId14" Type="http://schemas.openxmlformats.org/officeDocument/2006/relationships/tags" Target="../tags/tag30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13" Type="http://schemas.openxmlformats.org/officeDocument/2006/relationships/tags" Target="../tags/tag320.xml"/><Relationship Id="rId18" Type="http://schemas.openxmlformats.org/officeDocument/2006/relationships/image" Target="../media/image49.png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tags" Target="../tags/tag319.xml"/><Relationship Id="rId17" Type="http://schemas.openxmlformats.org/officeDocument/2006/relationships/image" Target="../media/image54.png"/><Relationship Id="rId2" Type="http://schemas.openxmlformats.org/officeDocument/2006/relationships/tags" Target="../tags/tag309.xml"/><Relationship Id="rId16" Type="http://schemas.openxmlformats.org/officeDocument/2006/relationships/image" Target="../media/image19.svg"/><Relationship Id="rId20" Type="http://schemas.openxmlformats.org/officeDocument/2006/relationships/image" Target="../media/image53.png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11" Type="http://schemas.openxmlformats.org/officeDocument/2006/relationships/tags" Target="../tags/tag318.xml"/><Relationship Id="rId5" Type="http://schemas.openxmlformats.org/officeDocument/2006/relationships/tags" Target="../tags/tag312.xml"/><Relationship Id="rId15" Type="http://schemas.openxmlformats.org/officeDocument/2006/relationships/image" Target="../media/image18.png"/><Relationship Id="rId10" Type="http://schemas.openxmlformats.org/officeDocument/2006/relationships/tags" Target="../tags/tag317.xml"/><Relationship Id="rId19" Type="http://schemas.openxmlformats.org/officeDocument/2006/relationships/image" Target="../media/image52.jpeg"/><Relationship Id="rId4" Type="http://schemas.openxmlformats.org/officeDocument/2006/relationships/tags" Target="../tags/tag311.xml"/><Relationship Id="rId9" Type="http://schemas.openxmlformats.org/officeDocument/2006/relationships/tags" Target="../tags/tag316.xml"/><Relationship Id="rId14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28.xml"/><Relationship Id="rId13" Type="http://schemas.openxmlformats.org/officeDocument/2006/relationships/tags" Target="../tags/tag333.xml"/><Relationship Id="rId18" Type="http://schemas.openxmlformats.org/officeDocument/2006/relationships/image" Target="../media/image47.png"/><Relationship Id="rId3" Type="http://schemas.openxmlformats.org/officeDocument/2006/relationships/tags" Target="../tags/tag323.xml"/><Relationship Id="rId21" Type="http://schemas.openxmlformats.org/officeDocument/2006/relationships/image" Target="../media/image53.png"/><Relationship Id="rId7" Type="http://schemas.openxmlformats.org/officeDocument/2006/relationships/tags" Target="../tags/tag327.xml"/><Relationship Id="rId12" Type="http://schemas.openxmlformats.org/officeDocument/2006/relationships/tags" Target="../tags/tag332.xml"/><Relationship Id="rId17" Type="http://schemas.openxmlformats.org/officeDocument/2006/relationships/image" Target="../media/image19.svg"/><Relationship Id="rId2" Type="http://schemas.openxmlformats.org/officeDocument/2006/relationships/tags" Target="../tags/tag322.xml"/><Relationship Id="rId16" Type="http://schemas.openxmlformats.org/officeDocument/2006/relationships/image" Target="../media/image18.png"/><Relationship Id="rId20" Type="http://schemas.openxmlformats.org/officeDocument/2006/relationships/image" Target="../media/image55.png"/><Relationship Id="rId1" Type="http://schemas.openxmlformats.org/officeDocument/2006/relationships/tags" Target="../tags/tag321.xml"/><Relationship Id="rId6" Type="http://schemas.openxmlformats.org/officeDocument/2006/relationships/tags" Target="../tags/tag326.xml"/><Relationship Id="rId11" Type="http://schemas.openxmlformats.org/officeDocument/2006/relationships/tags" Target="../tags/tag331.xml"/><Relationship Id="rId5" Type="http://schemas.openxmlformats.org/officeDocument/2006/relationships/tags" Target="../tags/tag325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30.xml"/><Relationship Id="rId19" Type="http://schemas.openxmlformats.org/officeDocument/2006/relationships/image" Target="../media/image48.PNG"/><Relationship Id="rId4" Type="http://schemas.openxmlformats.org/officeDocument/2006/relationships/tags" Target="../tags/tag324.xml"/><Relationship Id="rId9" Type="http://schemas.openxmlformats.org/officeDocument/2006/relationships/tags" Target="../tags/tag329.xml"/><Relationship Id="rId14" Type="http://schemas.openxmlformats.org/officeDocument/2006/relationships/tags" Target="../tags/tag33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tags" Target="../tags/tag347.xml"/><Relationship Id="rId18" Type="http://schemas.openxmlformats.org/officeDocument/2006/relationships/image" Target="../media/image54.png"/><Relationship Id="rId3" Type="http://schemas.openxmlformats.org/officeDocument/2006/relationships/tags" Target="../tags/tag337.xml"/><Relationship Id="rId21" Type="http://schemas.openxmlformats.org/officeDocument/2006/relationships/image" Target="../media/image53.png"/><Relationship Id="rId7" Type="http://schemas.openxmlformats.org/officeDocument/2006/relationships/tags" Target="../tags/tag341.xml"/><Relationship Id="rId12" Type="http://schemas.openxmlformats.org/officeDocument/2006/relationships/tags" Target="../tags/tag346.xml"/><Relationship Id="rId17" Type="http://schemas.openxmlformats.org/officeDocument/2006/relationships/image" Target="../media/image19.svg"/><Relationship Id="rId2" Type="http://schemas.openxmlformats.org/officeDocument/2006/relationships/tags" Target="../tags/tag336.xml"/><Relationship Id="rId16" Type="http://schemas.openxmlformats.org/officeDocument/2006/relationships/image" Target="../media/image18.png"/><Relationship Id="rId20" Type="http://schemas.openxmlformats.org/officeDocument/2006/relationships/image" Target="../media/image55.png"/><Relationship Id="rId1" Type="http://schemas.openxmlformats.org/officeDocument/2006/relationships/tags" Target="../tags/tag335.x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44.xml"/><Relationship Id="rId19" Type="http://schemas.openxmlformats.org/officeDocument/2006/relationships/image" Target="../media/image48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tags" Target="../tags/tag34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51.xml"/><Relationship Id="rId7" Type="http://schemas.openxmlformats.org/officeDocument/2006/relationships/image" Target="../media/image18.png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53.xml"/><Relationship Id="rId10" Type="http://schemas.openxmlformats.org/officeDocument/2006/relationships/image" Target="../media/image56.png"/><Relationship Id="rId4" Type="http://schemas.openxmlformats.org/officeDocument/2006/relationships/tags" Target="../tags/tag352.xml"/><Relationship Id="rId9" Type="http://schemas.openxmlformats.org/officeDocument/2006/relationships/image" Target="../media/image2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56.xml"/><Relationship Id="rId7" Type="http://schemas.openxmlformats.org/officeDocument/2006/relationships/image" Target="../media/image18.png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58.xml"/><Relationship Id="rId10" Type="http://schemas.openxmlformats.org/officeDocument/2006/relationships/image" Target="../media/image45.png"/><Relationship Id="rId4" Type="http://schemas.openxmlformats.org/officeDocument/2006/relationships/tags" Target="../tags/tag357.xml"/><Relationship Id="rId9" Type="http://schemas.openxmlformats.org/officeDocument/2006/relationships/image" Target="../media/image22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61.xml"/><Relationship Id="rId7" Type="http://schemas.openxmlformats.org/officeDocument/2006/relationships/image" Target="../media/image18.png"/><Relationship Id="rId2" Type="http://schemas.openxmlformats.org/officeDocument/2006/relationships/tags" Target="../tags/tag360.xml"/><Relationship Id="rId1" Type="http://schemas.openxmlformats.org/officeDocument/2006/relationships/tags" Target="../tags/tag359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63.xml"/><Relationship Id="rId10" Type="http://schemas.openxmlformats.org/officeDocument/2006/relationships/image" Target="../media/image46.png"/><Relationship Id="rId4" Type="http://schemas.openxmlformats.org/officeDocument/2006/relationships/tags" Target="../tags/tag362.xml"/><Relationship Id="rId9" Type="http://schemas.openxmlformats.org/officeDocument/2006/relationships/image" Target="../media/image2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66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tags" Target="../tags/tag369.xml"/><Relationship Id="rId11" Type="http://schemas.openxmlformats.org/officeDocument/2006/relationships/image" Target="../media/image8.png"/><Relationship Id="rId5" Type="http://schemas.openxmlformats.org/officeDocument/2006/relationships/tags" Target="../tags/tag368.xml"/><Relationship Id="rId10" Type="http://schemas.openxmlformats.org/officeDocument/2006/relationships/image" Target="../media/image7.svg"/><Relationship Id="rId4" Type="http://schemas.openxmlformats.org/officeDocument/2006/relationships/tags" Target="../tags/tag367.xml"/><Relationship Id="rId9" Type="http://schemas.openxmlformats.org/officeDocument/2006/relationships/image" Target="../media/image6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13" Type="http://schemas.openxmlformats.org/officeDocument/2006/relationships/image" Target="../media/image5.jpeg"/><Relationship Id="rId18" Type="http://schemas.openxmlformats.org/officeDocument/2006/relationships/image" Target="../media/image42.png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slideLayout" Target="../slideLayouts/slideLayout7.xml"/><Relationship Id="rId17" Type="http://schemas.openxmlformats.org/officeDocument/2006/relationships/image" Target="../media/image41.svg"/><Relationship Id="rId2" Type="http://schemas.openxmlformats.org/officeDocument/2006/relationships/tags" Target="../tags/tag371.xml"/><Relationship Id="rId16" Type="http://schemas.openxmlformats.org/officeDocument/2006/relationships/image" Target="../media/image40.png"/><Relationship Id="rId1" Type="http://schemas.openxmlformats.org/officeDocument/2006/relationships/tags" Target="../tags/tag370.xml"/><Relationship Id="rId6" Type="http://schemas.openxmlformats.org/officeDocument/2006/relationships/tags" Target="../tags/tag375.xml"/><Relationship Id="rId11" Type="http://schemas.openxmlformats.org/officeDocument/2006/relationships/tags" Target="../tags/tag380.xml"/><Relationship Id="rId5" Type="http://schemas.openxmlformats.org/officeDocument/2006/relationships/tags" Target="../tags/tag374.xml"/><Relationship Id="rId15" Type="http://schemas.openxmlformats.org/officeDocument/2006/relationships/image" Target="../media/image29.svg"/><Relationship Id="rId10" Type="http://schemas.openxmlformats.org/officeDocument/2006/relationships/tags" Target="../tags/tag379.xml"/><Relationship Id="rId4" Type="http://schemas.openxmlformats.org/officeDocument/2006/relationships/tags" Target="../tags/tag373.xml"/><Relationship Id="rId9" Type="http://schemas.openxmlformats.org/officeDocument/2006/relationships/tags" Target="../tags/tag378.xml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svg"/><Relationship Id="rId3" Type="http://schemas.openxmlformats.org/officeDocument/2006/relationships/tags" Target="../tags/tag29.xml"/><Relationship Id="rId21" Type="http://schemas.openxmlformats.org/officeDocument/2006/relationships/image" Target="../media/image19.sv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.xml"/><Relationship Id="rId19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3.xml"/><Relationship Id="rId7" Type="http://schemas.openxmlformats.org/officeDocument/2006/relationships/image" Target="../media/image18.png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85.xml"/><Relationship Id="rId4" Type="http://schemas.openxmlformats.org/officeDocument/2006/relationships/tags" Target="../tags/tag384.xml"/><Relationship Id="rId9" Type="http://schemas.openxmlformats.org/officeDocument/2006/relationships/image" Target="../media/image57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393.xml"/><Relationship Id="rId13" Type="http://schemas.openxmlformats.org/officeDocument/2006/relationships/image" Target="../media/image18.png"/><Relationship Id="rId3" Type="http://schemas.openxmlformats.org/officeDocument/2006/relationships/tags" Target="../tags/tag388.xml"/><Relationship Id="rId7" Type="http://schemas.openxmlformats.org/officeDocument/2006/relationships/tags" Target="../tags/tag392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tags" Target="../tags/tag391.xml"/><Relationship Id="rId11" Type="http://schemas.openxmlformats.org/officeDocument/2006/relationships/tags" Target="../tags/tag396.xml"/><Relationship Id="rId5" Type="http://schemas.openxmlformats.org/officeDocument/2006/relationships/tags" Target="../tags/tag390.xml"/><Relationship Id="rId15" Type="http://schemas.openxmlformats.org/officeDocument/2006/relationships/image" Target="../media/image57.jpeg"/><Relationship Id="rId10" Type="http://schemas.openxmlformats.org/officeDocument/2006/relationships/tags" Target="../tags/tag395.xml"/><Relationship Id="rId4" Type="http://schemas.openxmlformats.org/officeDocument/2006/relationships/tags" Target="../tags/tag389.xml"/><Relationship Id="rId9" Type="http://schemas.openxmlformats.org/officeDocument/2006/relationships/tags" Target="../tags/tag394.xml"/><Relationship Id="rId14" Type="http://schemas.openxmlformats.org/officeDocument/2006/relationships/image" Target="../media/image19.sv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99.xml"/><Relationship Id="rId7" Type="http://schemas.openxmlformats.org/officeDocument/2006/relationships/image" Target="../media/image18.png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01.xml"/><Relationship Id="rId10" Type="http://schemas.openxmlformats.org/officeDocument/2006/relationships/image" Target="../media/image59.png"/><Relationship Id="rId4" Type="http://schemas.openxmlformats.org/officeDocument/2006/relationships/tags" Target="../tags/tag400.xml"/><Relationship Id="rId9" Type="http://schemas.openxmlformats.org/officeDocument/2006/relationships/image" Target="../media/image5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openxmlformats.org/officeDocument/2006/relationships/tags" Target="../tags/tag414.xml"/><Relationship Id="rId18" Type="http://schemas.openxmlformats.org/officeDocument/2006/relationships/image" Target="../media/image19.svg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tags" Target="../tags/tag413.xml"/><Relationship Id="rId17" Type="http://schemas.openxmlformats.org/officeDocument/2006/relationships/image" Target="../media/image18.png"/><Relationship Id="rId2" Type="http://schemas.openxmlformats.org/officeDocument/2006/relationships/tags" Target="../tags/tag403.xml"/><Relationship Id="rId16" Type="http://schemas.openxmlformats.org/officeDocument/2006/relationships/slideLayout" Target="../slideLayouts/slideLayout7.xml"/><Relationship Id="rId20" Type="http://schemas.openxmlformats.org/officeDocument/2006/relationships/image" Target="../media/image60.png"/><Relationship Id="rId1" Type="http://schemas.openxmlformats.org/officeDocument/2006/relationships/tags" Target="../tags/tag402.xml"/><Relationship Id="rId6" Type="http://schemas.openxmlformats.org/officeDocument/2006/relationships/tags" Target="../tags/tag407.xml"/><Relationship Id="rId11" Type="http://schemas.openxmlformats.org/officeDocument/2006/relationships/tags" Target="../tags/tag412.xml"/><Relationship Id="rId5" Type="http://schemas.openxmlformats.org/officeDocument/2006/relationships/tags" Target="../tags/tag406.xml"/><Relationship Id="rId15" Type="http://schemas.openxmlformats.org/officeDocument/2006/relationships/tags" Target="../tags/tag416.xml"/><Relationship Id="rId10" Type="http://schemas.openxmlformats.org/officeDocument/2006/relationships/tags" Target="../tags/tag411.xml"/><Relationship Id="rId19" Type="http://schemas.openxmlformats.org/officeDocument/2006/relationships/image" Target="../media/image57.jpeg"/><Relationship Id="rId4" Type="http://schemas.openxmlformats.org/officeDocument/2006/relationships/tags" Target="../tags/tag405.xml"/><Relationship Id="rId9" Type="http://schemas.openxmlformats.org/officeDocument/2006/relationships/tags" Target="../tags/tag410.xml"/><Relationship Id="rId14" Type="http://schemas.openxmlformats.org/officeDocument/2006/relationships/tags" Target="../tags/tag41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19.xml"/><Relationship Id="rId7" Type="http://schemas.openxmlformats.org/officeDocument/2006/relationships/image" Target="../media/image18.png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59.png"/><Relationship Id="rId5" Type="http://schemas.openxmlformats.org/officeDocument/2006/relationships/tags" Target="../tags/tag421.xml"/><Relationship Id="rId10" Type="http://schemas.microsoft.com/office/2007/relationships/hdphoto" Target="../media/hdphoto1.wdp"/><Relationship Id="rId4" Type="http://schemas.openxmlformats.org/officeDocument/2006/relationships/tags" Target="../tags/tag420.xml"/><Relationship Id="rId9" Type="http://schemas.openxmlformats.org/officeDocument/2006/relationships/image" Target="../media/image61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24.xml"/><Relationship Id="rId7" Type="http://schemas.openxmlformats.org/officeDocument/2006/relationships/image" Target="../media/image18.png"/><Relationship Id="rId2" Type="http://schemas.openxmlformats.org/officeDocument/2006/relationships/tags" Target="../tags/tag423.xml"/><Relationship Id="rId1" Type="http://schemas.openxmlformats.org/officeDocument/2006/relationships/tags" Target="../tags/tag42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26.xml"/><Relationship Id="rId10" Type="http://schemas.openxmlformats.org/officeDocument/2006/relationships/image" Target="../media/image62.jpeg"/><Relationship Id="rId4" Type="http://schemas.openxmlformats.org/officeDocument/2006/relationships/tags" Target="../tags/tag425.xml"/><Relationship Id="rId9" Type="http://schemas.openxmlformats.org/officeDocument/2006/relationships/image" Target="../media/image33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29.xml"/><Relationship Id="rId7" Type="http://schemas.openxmlformats.org/officeDocument/2006/relationships/image" Target="../media/image18.png"/><Relationship Id="rId2" Type="http://schemas.openxmlformats.org/officeDocument/2006/relationships/tags" Target="../tags/tag428.xml"/><Relationship Id="rId1" Type="http://schemas.openxmlformats.org/officeDocument/2006/relationships/tags" Target="../tags/tag42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31.xml"/><Relationship Id="rId4" Type="http://schemas.openxmlformats.org/officeDocument/2006/relationships/tags" Target="../tags/tag430.xml"/><Relationship Id="rId9" Type="http://schemas.openxmlformats.org/officeDocument/2006/relationships/image" Target="../media/image63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13" Type="http://schemas.openxmlformats.org/officeDocument/2006/relationships/image" Target="../media/image19.svg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12" Type="http://schemas.openxmlformats.org/officeDocument/2006/relationships/image" Target="../media/image18.png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36.xml"/><Relationship Id="rId10" Type="http://schemas.openxmlformats.org/officeDocument/2006/relationships/tags" Target="../tags/tag441.xml"/><Relationship Id="rId4" Type="http://schemas.openxmlformats.org/officeDocument/2006/relationships/tags" Target="../tags/tag435.xml"/><Relationship Id="rId9" Type="http://schemas.openxmlformats.org/officeDocument/2006/relationships/tags" Target="../tags/tag440.xml"/><Relationship Id="rId14" Type="http://schemas.openxmlformats.org/officeDocument/2006/relationships/image" Target="../media/image6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449.xml"/><Relationship Id="rId13" Type="http://schemas.openxmlformats.org/officeDocument/2006/relationships/image" Target="../media/image18.png"/><Relationship Id="rId3" Type="http://schemas.openxmlformats.org/officeDocument/2006/relationships/tags" Target="../tags/tag444.xml"/><Relationship Id="rId7" Type="http://schemas.openxmlformats.org/officeDocument/2006/relationships/tags" Target="../tags/tag448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6" Type="http://schemas.openxmlformats.org/officeDocument/2006/relationships/tags" Target="../tags/tag447.xml"/><Relationship Id="rId11" Type="http://schemas.openxmlformats.org/officeDocument/2006/relationships/tags" Target="../tags/tag452.xml"/><Relationship Id="rId5" Type="http://schemas.openxmlformats.org/officeDocument/2006/relationships/tags" Target="../tags/tag446.xml"/><Relationship Id="rId15" Type="http://schemas.openxmlformats.org/officeDocument/2006/relationships/image" Target="../media/image57.jpeg"/><Relationship Id="rId10" Type="http://schemas.openxmlformats.org/officeDocument/2006/relationships/tags" Target="../tags/tag451.xml"/><Relationship Id="rId4" Type="http://schemas.openxmlformats.org/officeDocument/2006/relationships/tags" Target="../tags/tag445.xml"/><Relationship Id="rId9" Type="http://schemas.openxmlformats.org/officeDocument/2006/relationships/tags" Target="../tags/tag450.xml"/><Relationship Id="rId14" Type="http://schemas.openxmlformats.org/officeDocument/2006/relationships/image" Target="../media/image19.sv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55.xml"/><Relationship Id="rId7" Type="http://schemas.openxmlformats.org/officeDocument/2006/relationships/image" Target="../media/image18.png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57.xml"/><Relationship Id="rId10" Type="http://schemas.openxmlformats.org/officeDocument/2006/relationships/image" Target="../media/image65.png"/><Relationship Id="rId4" Type="http://schemas.openxmlformats.org/officeDocument/2006/relationships/tags" Target="../tags/tag456.xml"/><Relationship Id="rId9" Type="http://schemas.openxmlformats.org/officeDocument/2006/relationships/image" Target="../media/image58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1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2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image" Target="../media/image26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465.xml"/><Relationship Id="rId13" Type="http://schemas.openxmlformats.org/officeDocument/2006/relationships/tags" Target="../tags/tag470.xml"/><Relationship Id="rId18" Type="http://schemas.openxmlformats.org/officeDocument/2006/relationships/image" Target="../media/image60.png"/><Relationship Id="rId3" Type="http://schemas.openxmlformats.org/officeDocument/2006/relationships/tags" Target="../tags/tag460.xml"/><Relationship Id="rId7" Type="http://schemas.openxmlformats.org/officeDocument/2006/relationships/tags" Target="../tags/tag464.xml"/><Relationship Id="rId12" Type="http://schemas.openxmlformats.org/officeDocument/2006/relationships/tags" Target="../tags/tag469.xml"/><Relationship Id="rId17" Type="http://schemas.openxmlformats.org/officeDocument/2006/relationships/image" Target="../media/image19.svg"/><Relationship Id="rId2" Type="http://schemas.openxmlformats.org/officeDocument/2006/relationships/tags" Target="../tags/tag459.xml"/><Relationship Id="rId16" Type="http://schemas.openxmlformats.org/officeDocument/2006/relationships/image" Target="../media/image18.png"/><Relationship Id="rId1" Type="http://schemas.openxmlformats.org/officeDocument/2006/relationships/tags" Target="../tags/tag458.xml"/><Relationship Id="rId6" Type="http://schemas.openxmlformats.org/officeDocument/2006/relationships/tags" Target="../tags/tag463.xml"/><Relationship Id="rId11" Type="http://schemas.openxmlformats.org/officeDocument/2006/relationships/tags" Target="../tags/tag468.xml"/><Relationship Id="rId5" Type="http://schemas.openxmlformats.org/officeDocument/2006/relationships/tags" Target="../tags/tag462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467.xml"/><Relationship Id="rId4" Type="http://schemas.openxmlformats.org/officeDocument/2006/relationships/tags" Target="../tags/tag461.xml"/><Relationship Id="rId9" Type="http://schemas.openxmlformats.org/officeDocument/2006/relationships/tags" Target="../tags/tag466.xml"/><Relationship Id="rId14" Type="http://schemas.openxmlformats.org/officeDocument/2006/relationships/tags" Target="../tags/tag471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74.xml"/><Relationship Id="rId7" Type="http://schemas.openxmlformats.org/officeDocument/2006/relationships/image" Target="../media/image18.png"/><Relationship Id="rId2" Type="http://schemas.openxmlformats.org/officeDocument/2006/relationships/tags" Target="../tags/tag473.xml"/><Relationship Id="rId1" Type="http://schemas.openxmlformats.org/officeDocument/2006/relationships/tags" Target="../tags/tag47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65.png"/><Relationship Id="rId5" Type="http://schemas.openxmlformats.org/officeDocument/2006/relationships/tags" Target="../tags/tag476.xml"/><Relationship Id="rId10" Type="http://schemas.microsoft.com/office/2007/relationships/hdphoto" Target="../media/hdphoto1.wdp"/><Relationship Id="rId4" Type="http://schemas.openxmlformats.org/officeDocument/2006/relationships/tags" Target="../tags/tag475.xml"/><Relationship Id="rId9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7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tags" Target="../tags/tag482.xml"/><Relationship Id="rId11" Type="http://schemas.openxmlformats.org/officeDocument/2006/relationships/image" Target="../media/image63.png"/><Relationship Id="rId5" Type="http://schemas.openxmlformats.org/officeDocument/2006/relationships/tags" Target="../tags/tag481.xml"/><Relationship Id="rId10" Type="http://schemas.openxmlformats.org/officeDocument/2006/relationships/image" Target="../media/image33.png"/><Relationship Id="rId4" Type="http://schemas.openxmlformats.org/officeDocument/2006/relationships/tags" Target="../tags/tag480.xml"/><Relationship Id="rId9" Type="http://schemas.openxmlformats.org/officeDocument/2006/relationships/image" Target="../media/image19.sv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490.xml"/><Relationship Id="rId13" Type="http://schemas.openxmlformats.org/officeDocument/2006/relationships/image" Target="../media/image19.svg"/><Relationship Id="rId3" Type="http://schemas.openxmlformats.org/officeDocument/2006/relationships/tags" Target="../tags/tag485.xml"/><Relationship Id="rId7" Type="http://schemas.openxmlformats.org/officeDocument/2006/relationships/tags" Target="../tags/tag489.xml"/><Relationship Id="rId12" Type="http://schemas.openxmlformats.org/officeDocument/2006/relationships/image" Target="../media/image18.png"/><Relationship Id="rId2" Type="http://schemas.openxmlformats.org/officeDocument/2006/relationships/tags" Target="../tags/tag484.xml"/><Relationship Id="rId1" Type="http://schemas.openxmlformats.org/officeDocument/2006/relationships/tags" Target="../tags/tag483.xml"/><Relationship Id="rId6" Type="http://schemas.openxmlformats.org/officeDocument/2006/relationships/tags" Target="../tags/tag488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87.xml"/><Relationship Id="rId10" Type="http://schemas.openxmlformats.org/officeDocument/2006/relationships/tags" Target="../tags/tag492.xml"/><Relationship Id="rId4" Type="http://schemas.openxmlformats.org/officeDocument/2006/relationships/tags" Target="../tags/tag486.xml"/><Relationship Id="rId9" Type="http://schemas.openxmlformats.org/officeDocument/2006/relationships/tags" Target="../tags/tag491.xml"/><Relationship Id="rId14" Type="http://schemas.openxmlformats.org/officeDocument/2006/relationships/image" Target="../media/image64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9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tags" Target="../tags/tag498.xml"/><Relationship Id="rId11" Type="http://schemas.openxmlformats.org/officeDocument/2006/relationships/image" Target="../media/image66.png"/><Relationship Id="rId5" Type="http://schemas.openxmlformats.org/officeDocument/2006/relationships/tags" Target="../tags/tag497.xml"/><Relationship Id="rId10" Type="http://schemas.openxmlformats.org/officeDocument/2006/relationships/image" Target="../media/image32.png"/><Relationship Id="rId4" Type="http://schemas.openxmlformats.org/officeDocument/2006/relationships/tags" Target="../tags/tag496.xml"/><Relationship Id="rId9" Type="http://schemas.openxmlformats.org/officeDocument/2006/relationships/image" Target="../media/image19.sv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01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6" Type="http://schemas.openxmlformats.org/officeDocument/2006/relationships/tags" Target="../tags/tag504.xml"/><Relationship Id="rId11" Type="http://schemas.openxmlformats.org/officeDocument/2006/relationships/image" Target="../media/image39.png"/><Relationship Id="rId5" Type="http://schemas.openxmlformats.org/officeDocument/2006/relationships/tags" Target="../tags/tag503.xml"/><Relationship Id="rId10" Type="http://schemas.openxmlformats.org/officeDocument/2006/relationships/image" Target="../media/image62.jpeg"/><Relationship Id="rId4" Type="http://schemas.openxmlformats.org/officeDocument/2006/relationships/tags" Target="../tags/tag502.xml"/><Relationship Id="rId9" Type="http://schemas.openxmlformats.org/officeDocument/2006/relationships/image" Target="../media/image19.sv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512.xml"/><Relationship Id="rId13" Type="http://schemas.openxmlformats.org/officeDocument/2006/relationships/image" Target="../media/image19.svg"/><Relationship Id="rId3" Type="http://schemas.openxmlformats.org/officeDocument/2006/relationships/tags" Target="../tags/tag507.xml"/><Relationship Id="rId7" Type="http://schemas.openxmlformats.org/officeDocument/2006/relationships/tags" Target="../tags/tag511.xml"/><Relationship Id="rId12" Type="http://schemas.openxmlformats.org/officeDocument/2006/relationships/image" Target="../media/image18.png"/><Relationship Id="rId2" Type="http://schemas.openxmlformats.org/officeDocument/2006/relationships/tags" Target="../tags/tag506.xml"/><Relationship Id="rId1" Type="http://schemas.openxmlformats.org/officeDocument/2006/relationships/tags" Target="../tags/tag505.xml"/><Relationship Id="rId6" Type="http://schemas.openxmlformats.org/officeDocument/2006/relationships/tags" Target="../tags/tag510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09.xml"/><Relationship Id="rId15" Type="http://schemas.openxmlformats.org/officeDocument/2006/relationships/image" Target="../media/image67.png"/><Relationship Id="rId10" Type="http://schemas.openxmlformats.org/officeDocument/2006/relationships/tags" Target="../tags/tag514.xml"/><Relationship Id="rId4" Type="http://schemas.openxmlformats.org/officeDocument/2006/relationships/tags" Target="../tags/tag508.xml"/><Relationship Id="rId9" Type="http://schemas.openxmlformats.org/officeDocument/2006/relationships/tags" Target="../tags/tag513.xml"/><Relationship Id="rId14" Type="http://schemas.openxmlformats.org/officeDocument/2006/relationships/image" Target="../media/image26.jpe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520.xml"/><Relationship Id="rId13" Type="http://schemas.openxmlformats.org/officeDocument/2006/relationships/tags" Target="../tags/tag525.xml"/><Relationship Id="rId18" Type="http://schemas.openxmlformats.org/officeDocument/2006/relationships/image" Target="../media/image50.png"/><Relationship Id="rId3" Type="http://schemas.openxmlformats.org/officeDocument/2006/relationships/tags" Target="../tags/tag517.xml"/><Relationship Id="rId7" Type="http://schemas.openxmlformats.org/officeDocument/2006/relationships/audio" Target="../media/media2.mp3"/><Relationship Id="rId12" Type="http://schemas.openxmlformats.org/officeDocument/2006/relationships/tags" Target="../tags/tag524.xml"/><Relationship Id="rId17" Type="http://schemas.openxmlformats.org/officeDocument/2006/relationships/image" Target="../media/image68.gif"/><Relationship Id="rId2" Type="http://schemas.openxmlformats.org/officeDocument/2006/relationships/tags" Target="../tags/tag516.xml"/><Relationship Id="rId16" Type="http://schemas.openxmlformats.org/officeDocument/2006/relationships/image" Target="../media/image19.svg"/><Relationship Id="rId1" Type="http://schemas.openxmlformats.org/officeDocument/2006/relationships/tags" Target="../tags/tag515.xml"/><Relationship Id="rId6" Type="http://schemas.microsoft.com/office/2007/relationships/media" Target="../media/media2.mp3"/><Relationship Id="rId11" Type="http://schemas.openxmlformats.org/officeDocument/2006/relationships/tags" Target="../tags/tag523.xml"/><Relationship Id="rId5" Type="http://schemas.openxmlformats.org/officeDocument/2006/relationships/tags" Target="../tags/tag519.xml"/><Relationship Id="rId15" Type="http://schemas.openxmlformats.org/officeDocument/2006/relationships/image" Target="../media/image18.png"/><Relationship Id="rId10" Type="http://schemas.openxmlformats.org/officeDocument/2006/relationships/tags" Target="../tags/tag522.xml"/><Relationship Id="rId4" Type="http://schemas.openxmlformats.org/officeDocument/2006/relationships/tags" Target="../tags/tag518.xml"/><Relationship Id="rId9" Type="http://schemas.openxmlformats.org/officeDocument/2006/relationships/tags" Target="../tags/tag521.xml"/><Relationship Id="rId14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533.xml"/><Relationship Id="rId13" Type="http://schemas.openxmlformats.org/officeDocument/2006/relationships/tags" Target="../tags/tag538.xml"/><Relationship Id="rId18" Type="http://schemas.openxmlformats.org/officeDocument/2006/relationships/image" Target="../media/image70.jpeg"/><Relationship Id="rId3" Type="http://schemas.openxmlformats.org/officeDocument/2006/relationships/tags" Target="../tags/tag528.xml"/><Relationship Id="rId21" Type="http://schemas.microsoft.com/office/2007/relationships/hdphoto" Target="../media/hdphoto2.wdp"/><Relationship Id="rId7" Type="http://schemas.openxmlformats.org/officeDocument/2006/relationships/tags" Target="../tags/tag532.xml"/><Relationship Id="rId12" Type="http://schemas.openxmlformats.org/officeDocument/2006/relationships/tags" Target="../tags/tag537.xml"/><Relationship Id="rId17" Type="http://schemas.openxmlformats.org/officeDocument/2006/relationships/image" Target="../media/image69.jpg"/><Relationship Id="rId2" Type="http://schemas.openxmlformats.org/officeDocument/2006/relationships/tags" Target="../tags/tag527.xml"/><Relationship Id="rId16" Type="http://schemas.openxmlformats.org/officeDocument/2006/relationships/image" Target="../media/image19.svg"/><Relationship Id="rId20" Type="http://schemas.openxmlformats.org/officeDocument/2006/relationships/image" Target="../media/image72.png"/><Relationship Id="rId1" Type="http://schemas.openxmlformats.org/officeDocument/2006/relationships/tags" Target="../tags/tag526.xml"/><Relationship Id="rId6" Type="http://schemas.openxmlformats.org/officeDocument/2006/relationships/tags" Target="../tags/tag531.xml"/><Relationship Id="rId11" Type="http://schemas.openxmlformats.org/officeDocument/2006/relationships/tags" Target="../tags/tag536.xml"/><Relationship Id="rId5" Type="http://schemas.openxmlformats.org/officeDocument/2006/relationships/tags" Target="../tags/tag530.xml"/><Relationship Id="rId15" Type="http://schemas.openxmlformats.org/officeDocument/2006/relationships/image" Target="../media/image18.png"/><Relationship Id="rId10" Type="http://schemas.openxmlformats.org/officeDocument/2006/relationships/tags" Target="../tags/tag535.xml"/><Relationship Id="rId19" Type="http://schemas.openxmlformats.org/officeDocument/2006/relationships/image" Target="../media/image71.jpg"/><Relationship Id="rId4" Type="http://schemas.openxmlformats.org/officeDocument/2006/relationships/tags" Target="../tags/tag529.xml"/><Relationship Id="rId9" Type="http://schemas.openxmlformats.org/officeDocument/2006/relationships/tags" Target="../tags/tag53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3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546.xml"/><Relationship Id="rId13" Type="http://schemas.openxmlformats.org/officeDocument/2006/relationships/image" Target="../media/image43.png"/><Relationship Id="rId3" Type="http://schemas.openxmlformats.org/officeDocument/2006/relationships/tags" Target="../tags/tag541.xml"/><Relationship Id="rId7" Type="http://schemas.openxmlformats.org/officeDocument/2006/relationships/tags" Target="../tags/tag545.xml"/><Relationship Id="rId12" Type="http://schemas.openxmlformats.org/officeDocument/2006/relationships/image" Target="../media/image19.svg"/><Relationship Id="rId2" Type="http://schemas.openxmlformats.org/officeDocument/2006/relationships/tags" Target="../tags/tag540.xml"/><Relationship Id="rId1" Type="http://schemas.openxmlformats.org/officeDocument/2006/relationships/tags" Target="../tags/tag539.xml"/><Relationship Id="rId6" Type="http://schemas.openxmlformats.org/officeDocument/2006/relationships/tags" Target="../tags/tag544.xml"/><Relationship Id="rId11" Type="http://schemas.openxmlformats.org/officeDocument/2006/relationships/image" Target="../media/image18.png"/><Relationship Id="rId5" Type="http://schemas.openxmlformats.org/officeDocument/2006/relationships/tags" Target="../tags/tag543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542.xml"/><Relationship Id="rId9" Type="http://schemas.openxmlformats.org/officeDocument/2006/relationships/tags" Target="../tags/tag54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13.png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9.sv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32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slideLayout" Target="../slideLayouts/slideLayout18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548.xml"/><Relationship Id="rId6" Type="http://schemas.openxmlformats.org/officeDocument/2006/relationships/hyperlink" Target="https://docs.google.com/forms/d/e/1FAIpQLSeGbEh4eCfj0ri_aqOht0VG2q1xZDER-dmv6wFZwOP759wbuA/formResponse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9.svg"/><Relationship Id="rId5" Type="http://schemas.openxmlformats.org/officeDocument/2006/relationships/tags" Target="../tags/tag87.xml"/><Relationship Id="rId10" Type="http://schemas.openxmlformats.org/officeDocument/2006/relationships/image" Target="../media/image15.png"/><Relationship Id="rId4" Type="http://schemas.openxmlformats.org/officeDocument/2006/relationships/tags" Target="../tags/tag86.xml"/><Relationship Id="rId9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2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4.xml"/><Relationship Id="rId10" Type="http://schemas.openxmlformats.org/officeDocument/2006/relationships/image" Target="../media/image8.png"/><Relationship Id="rId4" Type="http://schemas.openxmlformats.org/officeDocument/2006/relationships/tags" Target="../tags/tag93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29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15.png"/><Relationship Id="rId5" Type="http://schemas.openxmlformats.org/officeDocument/2006/relationships/tags" Target="../tags/tag99.xml"/><Relationship Id="rId10" Type="http://schemas.openxmlformats.org/officeDocument/2006/relationships/image" Target="../media/image5.jpeg"/><Relationship Id="rId4" Type="http://schemas.openxmlformats.org/officeDocument/2006/relationships/tags" Target="../tags/tag98.xml"/><Relationship Id="rId9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1 - Séance </a:t>
            </a:r>
            <a:r>
              <a:rPr lang="ar-MA" sz="4001" b="1" dirty="0">
                <a:solidFill>
                  <a:prstClr val="white"/>
                </a:solidFill>
                <a:latin typeface="Dosis Bold"/>
              </a:rPr>
              <a:t>3</a:t>
            </a:r>
            <a:endParaRPr lang="en-US" sz="4001" b="1" dirty="0">
              <a:solidFill>
                <a:prstClr val="white"/>
              </a:solidFill>
              <a:latin typeface="Dosis Bold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17E0C8-16BE-B035-04C3-D705EA2163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626608" y="8574280"/>
            <a:ext cx="4603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spcAft>
                <a:spcPts val="1800"/>
              </a:spcAft>
            </a:pPr>
            <a:r>
              <a:rPr lang="fr-FR" sz="2400" b="1" i="1">
                <a:solidFill>
                  <a:prstClr val="white">
                    <a:lumMod val="50000"/>
                  </a:prstClr>
                </a:solidFill>
                <a:latin typeface="Calibri"/>
              </a:rPr>
              <a:t>    </a:t>
            </a:r>
            <a:endParaRPr lang="fr-FR" sz="2400" i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6169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889248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529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51812"/>
            <a:ext cx="12954000" cy="9592689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1  :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2 :  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3 :   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4 :  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1926220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653238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ctr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1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64116"/>
            <a:ext cx="518160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Vocabulaire 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oute active du dialogue</a:t>
            </a:r>
            <a:endParaRPr kumimoji="0" lang="fr-FR" sz="21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2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cte de parole 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DEADA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E46C0A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cte de parole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MA" sz="24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4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cte de parole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</a:t>
            </a:r>
            <a:endParaRPr kumimoji="0" lang="fr-FR" sz="21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54930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5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ituels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Appropriation de l'acte de parole</a:t>
            </a:r>
          </a:p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ture</a:t>
            </a:r>
            <a:endParaRPr kumimoji="0" lang="fr-MA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57231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6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marR="0" lvl="0" indent="-342917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0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</a:t>
            </a:r>
            <a:r>
              <a:rPr kumimoji="0" lang="en-US" sz="28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éance 3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  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4881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1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6C0E7951-B759-E3E2-255C-145C67B38D44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994320" y="2939189"/>
            <a:ext cx="3779848" cy="53649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B0FAD07-4923-211A-176C-DDEFA598B81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968076" y="2947269"/>
            <a:ext cx="3779848" cy="5357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ECA88E5-642C-F906-CEC9-1B828851091E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8950689" y="2947269"/>
            <a:ext cx="3779848" cy="5357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752267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3607C-46CE-B412-9374-10EDE2E67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EF6C34B-343B-5FE9-418E-502C8F28BA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8125F813-5C32-E481-CDFA-D7C9840234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évision des lettr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Qu’est-ce que c’est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C’est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Écritur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re la lettre L en minuscule et en majuscule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4EE29260-58D4-CD76-984F-6EC678B29B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CFF5CB8B-3D1A-4336-0186-2679B0616C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1A94D9E-C903-BDB3-757C-F19CB4192D4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3021680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8D4B78C5-36D0-DFAD-C71A-4ED4A898EF6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</a:t>
            </a:r>
            <a:r>
              <a:rPr lang="ar-MA" sz="6000" b="1" dirty="0">
                <a:solidFill>
                  <a:srgbClr val="215968"/>
                </a:solidFill>
                <a:latin typeface="Dosis" pitchFamily="2" charset="0"/>
              </a:rPr>
              <a:t>3</a:t>
            </a: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511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193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s rituels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702599" y="5749003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mots du vocabulaire.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88925" y="5653523"/>
            <a:ext cx="504425" cy="549067"/>
          </a:xfrm>
          <a:prstGeom prst="rect">
            <a:avLst/>
          </a:prstGeom>
        </p:spPr>
      </p:pic>
      <p:sp>
        <p:nvSpPr>
          <p:cNvPr id="10" name="TextBox 10">
            <a:extLst>
              <a:ext uri="{FF2B5EF4-FFF2-40B4-BE49-F238E27FC236}">
                <a16:creationId xmlns:a16="http://schemas.microsoft.com/office/drawing/2014/main" id="{EF196A93-E68D-1372-8AE7-C3B1CFBDEE2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702599" y="4800541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lettres étudiées. 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C75F036-BA9D-7899-1EE8-CECE1BF402A2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88925" y="4705061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255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2BF15-BB8E-989A-E985-B85960309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EF208EB-CBC0-D417-8786-FCDD4B590E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09CB912-DCEA-98D8-0632-D26B863802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71B6C95-808C-274D-88CD-53626543F25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6780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6AC0830-E62D-97D2-A32A-6FDEE5945A34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69B0D59-FCFA-73A1-A5F7-BB29DECD18D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BBD8E0A-9302-BA3F-35EF-51D7975A006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E013A098-CA5F-A92B-10C3-E6DD7614B986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D0B8788-CC1A-A112-6526-1B40637EC62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EA6562E-F05C-00F7-13C2-2F5E359BE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9926730-19A1-3596-B730-AE339E499E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E388BA8-E9EE-DE41-DCA3-773498CEA85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446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AFDA3E-92BD-765A-2B48-F7AFC48773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16F4D9A8-903B-5552-5D18-796CBD7B15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montrer la lettre i ?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86D93450-997D-0074-45EB-61D24727C2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32815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39AF070-19E1-6F66-CF0D-B2B31890C88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FB2D534-5FE0-624F-97AE-02C03063EF8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54686" y="5755526"/>
            <a:ext cx="12206628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dormir  olive  sirop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A964C9C7-DD52-D6DF-13B9-00E3F54B3AB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4968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26029975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518A3-F439-DBD7-1377-A72BEFC24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D96C3A31-B89F-C6A6-A4DB-50C81D6E596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39512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i dans les mots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B22AA798-BB8D-09F3-EA4F-23CFD4EF66B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8128" y="774267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1FAABFB2-5EED-504A-C2FA-23D5C442517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83142" y="524034"/>
            <a:ext cx="878270" cy="1250798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25BF17A2-DE80-DF5B-1B78-29910522D4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54686" y="5755526"/>
            <a:ext cx="12206628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dorm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i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r  ol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i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ve  s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i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rop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EE51C90C-36A9-545B-B007-BB8E7DE9EDF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72934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C41D3E-4062-E299-3C6F-71CF296E8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C098BC95-BD9B-46C1-6CB7-62AAD209092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aintenant, qui veut passer au tableau pour montrer la lettre o ?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EF3296BA-0CB1-0B68-C16B-7336E6B16D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32815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7846A38-DE92-A0D7-8B5B-466E313174C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48D0B8AA-73D1-7D41-90E6-2C8524CF23C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2339E52C-ED0A-CE60-65F2-D66388267D8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4686" y="5755526"/>
            <a:ext cx="12206628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dormir  olive  sirop</a:t>
            </a:r>
          </a:p>
        </p:txBody>
      </p:sp>
    </p:spTree>
    <p:extLst>
      <p:ext uri="{BB962C8B-B14F-4D97-AF65-F5344CB8AC3E}">
        <p14:creationId xmlns:p14="http://schemas.microsoft.com/office/powerpoint/2010/main" val="40116198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62D036-E572-5973-FDD3-D677F590D4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F3C81DC7-D9C7-D0EF-46B1-A2193AA94FA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39512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o dans les mots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0E10487C-A9FC-4B3C-874E-01E8C152E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8128" y="774267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FB6D1B71-E9D5-6E6E-9758-7C5808A4C89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83142" y="524034"/>
            <a:ext cx="878270" cy="1250798"/>
          </a:xfrm>
          <a:prstGeom prst="rect">
            <a:avLst/>
          </a:prstGeom>
        </p:spPr>
      </p:pic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946A97EB-CD3C-7860-85B0-3CEDA0A8E60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45099FB7-2A6B-00BB-7398-28EDBE94198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4686" y="5755526"/>
            <a:ext cx="12206628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d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o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rmir  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o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live  sir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o</a:t>
            </a:r>
            <a:r>
              <a:rPr kumimoji="0" lang="fr-MA" sz="115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KG Primary Penmanship Alt" panose="02000506000000020003" pitchFamily="2" charset="0"/>
                <a:ea typeface="+mn-ea"/>
                <a:cs typeface="+mn-cs"/>
              </a:rPr>
              <a:t>p</a:t>
            </a:r>
          </a:p>
        </p:txBody>
      </p:sp>
    </p:spTree>
    <p:extLst>
      <p:ext uri="{BB962C8B-B14F-4D97-AF65-F5344CB8AC3E}">
        <p14:creationId xmlns:p14="http://schemas.microsoft.com/office/powerpoint/2010/main" val="18020538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E91151-5608-0DD3-EDD0-78F3783AE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E2ADF66C-C38F-EC65-DFC3-2A127500FA5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65911" y="67640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F6452AD8-FD8D-A830-1961-7FDA3705A9B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73641" y="589043"/>
            <a:ext cx="100448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us avons vu ces mots la séance précédente.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</a:t>
            </a:r>
          </a:p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l est ce mot ?  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A86523FA-9E98-1815-5C13-F152348CA4B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B2A5CA6-0ABB-E854-58F6-7533FAD8688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/>
          <a:stretch>
            <a:fillRect/>
          </a:stretch>
        </p:blipFill>
        <p:spPr>
          <a:xfrm rot="636592">
            <a:off x="3364975" y="3909412"/>
            <a:ext cx="2248818" cy="2765084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532041FF-C0D8-A3C6-BCBC-76E8773BDBE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/>
          <a:stretch>
            <a:fillRect/>
          </a:stretch>
        </p:blipFill>
        <p:spPr>
          <a:xfrm rot="713836">
            <a:off x="8636650" y="4011122"/>
            <a:ext cx="2218098" cy="2727311"/>
          </a:xfrm>
          <a:prstGeom prst="rect">
            <a:avLst/>
          </a:prstGeom>
        </p:spPr>
      </p:pic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205539DE-D945-3565-E38E-E6056CBE279D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99494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31F63-E693-FC5E-0DF9-875623507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8A0D4BF-2A02-5A82-5EC4-59CE3B7A4B1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/>
          <a:stretch>
            <a:fillRect/>
          </a:stretch>
        </p:blipFill>
        <p:spPr>
          <a:xfrm rot="636592">
            <a:off x="3364975" y="3909412"/>
            <a:ext cx="2248818" cy="2765084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A4637C0A-BAC1-BAC0-61B3-3F72A469CF8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/>
          <a:stretch>
            <a:fillRect/>
          </a:stretch>
        </p:blipFill>
        <p:spPr>
          <a:xfrm rot="713836">
            <a:off x="8636650" y="4011122"/>
            <a:ext cx="2218098" cy="2727311"/>
          </a:xfrm>
          <a:prstGeom prst="rect">
            <a:avLst/>
          </a:prstGeom>
        </p:spPr>
      </p:pic>
      <p:sp>
        <p:nvSpPr>
          <p:cNvPr id="4" name="Freeform 8">
            <a:extLst>
              <a:ext uri="{FF2B5EF4-FFF2-40B4-BE49-F238E27FC236}">
                <a16:creationId xmlns:a16="http://schemas.microsoft.com/office/drawing/2014/main" id="{CB01776C-C876-8166-BE99-D62DC41F50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5EC3415-D08E-9718-CF35-528745A317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e vais dire les mots.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7AA1FA7-1AFA-DAF9-E766-5B558206505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EF4F8A6-9666-A0D6-B5B5-46BCCE1F6E3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968461" y="6875805"/>
            <a:ext cx="43820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stylo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55C7679-F6AD-7D8F-13CE-817E3736AF1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86558" y="6875218"/>
            <a:ext cx="55851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e règle</a:t>
            </a: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D265FF4B-9582-9689-14E3-A65CC34D2BE8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11907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49EBF-02E7-DF35-C8D5-D69727A04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5A9E35D-598B-2412-5921-A19D1976CD2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A92671D-ECD8-96EC-A86E-94F4CCF99BA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lettr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Qu’est-ce que c’est ?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C’est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  <a:endParaRPr lang="fr-FR" sz="4200" b="1" dirty="0">
              <a:solidFill>
                <a:schemeClr val="bg1">
                  <a:lumMod val="65000"/>
                </a:scheme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Écrire la lettre L en minuscule et en majuscule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5A2F269-8203-AE2A-2593-DD963AF166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23EFBED-2F38-6CF5-0E88-370C2E0786A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83439FE-AC15-5FD8-D1B6-4B9C89ECCE8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476476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3855B124-D0A7-4F85-61DC-C9828EBEBB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3</a:t>
            </a:r>
          </a:p>
        </p:txBody>
      </p:sp>
    </p:spTree>
    <p:extLst>
      <p:ext uri="{BB962C8B-B14F-4D97-AF65-F5344CB8AC3E}">
        <p14:creationId xmlns:p14="http://schemas.microsoft.com/office/powerpoint/2010/main" val="21496695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7C03ED0A-C5B0-D998-5D5C-0C9D119281B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C1D261BA-3ABE-2DE1-E789-F4046D0C8328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95C32B6-3F71-2033-BA88-FCA970C59DCF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CCC5F9BE-BCEA-3D50-20D4-F48CE3775C7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480252" y="3990665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10714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S’approprier l’acte de parole :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79022" y="4670448"/>
            <a:ext cx="8678662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Qu’est-ce que c’est ?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7C75934-EA09-FAF7-A0F8-3A93E9B0AD9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525597" y="5880388"/>
            <a:ext cx="504425" cy="549068"/>
          </a:xfrm>
          <a:prstGeom prst="rect">
            <a:avLst/>
          </a:prstGeom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940A627E-03E1-78D4-52F2-DAEFE422D83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52875" y="5914725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Utiliser des outils de langue : </a:t>
            </a: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2DA6B2EC-A123-8022-FC7A-ECF86040222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979022" y="6548500"/>
            <a:ext cx="8443805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C’est … .</a:t>
            </a:r>
          </a:p>
        </p:txBody>
      </p:sp>
    </p:spTree>
    <p:extLst>
      <p:ext uri="{BB962C8B-B14F-4D97-AF65-F5344CB8AC3E}">
        <p14:creationId xmlns:p14="http://schemas.microsoft.com/office/powerpoint/2010/main" val="16431639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2E21719-7314-20EB-019B-2CF23B56296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71600" y="636631"/>
            <a:ext cx="12409713" cy="558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45" rtl="0" eaLnBrk="1" fontAlgn="auto" latinLnBrk="0" hangingPunct="1">
              <a:lnSpc>
                <a:spcPts val="4022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Nous allons réécouter le dialogue entre Karim et Rita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78C043C-12B3-BD6D-9C88-EF36185D4557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20395278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7218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55901C-AAD3-DC62-8376-D73CDD5D3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36E38BEE-EA00-1677-1ACF-5417705EBC5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68E5D35-7F6C-A554-C7A7-70C0C98D172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5FBBF68-FF4F-16AE-5F3F-9C4E22E9895C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8D1157E-BCDB-2645-97DC-17C3EAB8DBA0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AE188BD-8078-9EE1-9BD2-1C9CC6C4ACF2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6E50444F-EC3C-5980-6110-41DB3A87FB29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882BC4F2-3F92-25BB-E453-E40FB52368BD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A931702-0907-ABB6-8A66-DAD615C7662A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398AAA0C-9EC4-7445-FEA0-3365B8E05DB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Premièr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4F52308-1316-BBD6-0FD0-1DA6D4F42AC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62C16217-79E8-D669-FFC3-A5B86C29518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F7BEFAE7-9CFA-5C21-D4B4-EE0959401E8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01554899-1C20-FB22-C506-A65C7796E14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F3372A1B-7AA2-1542-CB53-8EDA1732DCB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arcours_1_S7_s1_Dialogue">
            <a:hlinkClick r:id="" action="ppaction://media"/>
            <a:extLst>
              <a:ext uri="{FF2B5EF4-FFF2-40B4-BE49-F238E27FC236}">
                <a16:creationId xmlns:a16="http://schemas.microsoft.com/office/drawing/2014/main" id="{7C363908-2F14-F979-3514-C4F8DBD4AC2C}"/>
              </a:ext>
            </a:extLst>
          </p:cNvPr>
          <p:cNvPicPr>
            <a:picLocks noChangeAspect="1"/>
          </p:cNvPicPr>
          <p:nvPr>
            <a:audioFile r:link="rId10"/>
            <p:custDataLst>
              <p:tags r:id="rId11"/>
            </p:custDataLst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729788" y="719970"/>
            <a:ext cx="611764" cy="611764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45413674-5162-252F-807F-C362E9382589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80693270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0678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592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2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2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4" dur="2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2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7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20" dur="3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3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23" dur="5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5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1411D-AB82-CD69-C19B-64D5996D9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6E08C70-B353-4F1F-1116-B258C0FB4A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B12CBCC-4844-A2FE-8F59-6519CC2E3C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C1B0D0-9CE2-FD84-FE3A-E886E06A52B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5CA2F3C-2733-5181-9207-C0A1659840BB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E28CF3B-86F1-684B-B385-11E508F9C4A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004358B-0C52-BD46-7078-1F19101DB9A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BA498E2-3ECF-694D-15D6-5772676A9564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71B49946-561D-B446-727B-F40E06CA7B7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0F08B29D-CBF2-D3A4-2118-B69C6D7A2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316A457-0875-5003-0735-2C503C88F4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2" y="736196"/>
            <a:ext cx="10905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diffuser le dialogue une deuxième fois. Écoutez attentivement. </a:t>
            </a:r>
          </a:p>
        </p:txBody>
      </p:sp>
      <p:pic>
        <p:nvPicPr>
          <p:cNvPr id="13" name="Image 12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BF74A406-552F-902E-71AD-3F309E37B3A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82" y="2965052"/>
            <a:ext cx="4368191" cy="435689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EF74FAF-1DF7-49B9-CFF0-3D9ECB64194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18791055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3485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290116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55901C-AAD3-DC62-8376-D73CDD5D3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36E38BEE-EA00-1677-1ACF-5417705EBC5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68E5D35-7F6C-A554-C7A7-70C0C98D172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5FBBF68-FF4F-16AE-5F3F-9C4E22E9895C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8D1157E-BCDB-2645-97DC-17C3EAB8DBA0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AE188BD-8078-9EE1-9BD2-1C9CC6C4ACF2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6E50444F-EC3C-5980-6110-41DB3A87FB29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882BC4F2-3F92-25BB-E453-E40FB52368BD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A931702-0907-ABB6-8A66-DAD615C7662A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398AAA0C-9EC4-7445-FEA0-3365B8E05DB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euxièm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4F52308-1316-BBD6-0FD0-1DA6D4F42AC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62C16217-79E8-D669-FFC3-A5B86C29518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F7BEFAE7-9CFA-5C21-D4B4-EE0959401E8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01554899-1C20-FB22-C506-A65C7796E14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F3372A1B-7AA2-1542-CB53-8EDA1732DCB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arcours_1_S7_s1_Dialogue">
            <a:hlinkClick r:id="" action="ppaction://media"/>
            <a:extLst>
              <a:ext uri="{FF2B5EF4-FFF2-40B4-BE49-F238E27FC236}">
                <a16:creationId xmlns:a16="http://schemas.microsoft.com/office/drawing/2014/main" id="{7C363908-2F14-F979-3514-C4F8DBD4AC2C}"/>
              </a:ext>
            </a:extLst>
          </p:cNvPr>
          <p:cNvPicPr>
            <a:picLocks noChangeAspect="1"/>
          </p:cNvPicPr>
          <p:nvPr>
            <a:audioFile r:link="rId10"/>
            <p:custDataLst>
              <p:tags r:id="rId11"/>
            </p:custDataLst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729788" y="719970"/>
            <a:ext cx="611764" cy="611764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45413674-5162-252F-807F-C362E9382589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03488374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2010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592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2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2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4" dur="2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2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7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20" dur="3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3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23" dur="5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5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10E13-145F-EA9B-F404-812EE8D07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851FF6C-CB32-DB40-E3E1-CFC9B37A62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9CCA91B-89F0-551F-A9F6-5FFD3658C67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9B7AFC5-085C-638E-E986-80BE199CB6D7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920CB0C0-2B9C-D553-0357-A437F0B54625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92607D38-D575-A3DA-95F9-4CDA1AA93ED7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3E011C5-B563-5B04-EC99-35B201791E1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FD7F9A94-F95C-DE49-9C12-55575E0DCCC8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9C702DF-51F5-5371-F9E5-18D87D2FA4D4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6B56DE34-FD4E-0486-403E-57B428CBD2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53F27BB-ED15-6EF1-A293-CC91A7EF2F4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Karim dit « Qu’est-ce que c’est ?» </a:t>
            </a:r>
          </a:p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éter ? 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88707F5-F71E-779C-77EE-838AC0CF46E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EFFE25F8-195A-1049-05BD-983FC380E97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293870" y="2112063"/>
            <a:ext cx="3950018" cy="1628520"/>
          </a:xfrm>
          <a:prstGeom prst="wedgeEllipseCallout">
            <a:avLst>
              <a:gd name="adj1" fmla="val 11726"/>
              <a:gd name="adj2" fmla="val 8193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90">
              <a:defRPr/>
            </a:pP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’est-ce que c’est ?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3FC05B-0BB5-AD43-F65C-141AF30092C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2685056" y="4641469"/>
            <a:ext cx="2987328" cy="3767868"/>
          </a:xfrm>
          <a:prstGeom prst="rect">
            <a:avLst/>
          </a:prstGeom>
        </p:spPr>
      </p:pic>
      <p:pic>
        <p:nvPicPr>
          <p:cNvPr id="21" name="Image 20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447128F0-0512-53A3-1732-8E290D0FECF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79" t="50000" r="26969" b="4086"/>
          <a:stretch/>
        </p:blipFill>
        <p:spPr>
          <a:xfrm flipH="1">
            <a:off x="5691348" y="4046369"/>
            <a:ext cx="2552540" cy="4451648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6B41FFE5-7B78-7187-06EF-71075FB0AD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9277705" y="4523809"/>
            <a:ext cx="2858877" cy="2750586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EF26662A-D3D5-ED86-D746-AB7EAB78C390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64063506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91165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1C7CC9-AA12-35BD-5340-F11AE45E17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4B6201CA-DCEA-21AF-C375-709CA535638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FE1AD87-3B95-175B-5198-7ECE56F853B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DD4238E-B975-41CD-A125-328C6D5D52C1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1BDB92A4-6D56-96E4-4236-B242EEA2AC1E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18DC9D8-001D-E3DF-AA38-69EBA450B227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7AABBFC-A366-61EF-38A7-A64E79435CD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AF72981F-C529-A3C1-0716-66F9D0BACB53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1F32E4F1-96C1-D069-38DC-983CE5519949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06351053-904B-498F-928F-037F7B655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75158" y="81373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BED2E9B-2892-B3E4-BEAF-FA270BE31F2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55984" y="697808"/>
            <a:ext cx="10001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e signifie « Qu’est-ce que c’est ?»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</a:rPr>
              <a:t>en arabe ? 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775B6A-5262-373B-96F5-A75FCA33ACF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1099197" y="574565"/>
            <a:ext cx="1828959" cy="1268078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F29FD74C-0961-FC7F-708A-1CF7121523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2685056" y="4641469"/>
            <a:ext cx="2987328" cy="3767868"/>
          </a:xfrm>
          <a:prstGeom prst="rect">
            <a:avLst/>
          </a:prstGeom>
        </p:spPr>
      </p:pic>
      <p:pic>
        <p:nvPicPr>
          <p:cNvPr id="18" name="Image 17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E40461AE-4D3D-6595-D2BF-44862F2C7537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79" t="50000" r="26969" b="4086"/>
          <a:stretch/>
        </p:blipFill>
        <p:spPr>
          <a:xfrm flipH="1">
            <a:off x="5691348" y="4046369"/>
            <a:ext cx="2552540" cy="4451648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21F3A02-B24D-4438-5AE1-D792796BBC2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9277705" y="4523809"/>
            <a:ext cx="2858877" cy="2750586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4D86801A-3970-DA27-7057-1482720FF167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72950547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5078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C6C4D-14A1-5E15-2E19-0B21A07B9C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7B5DE411-70BA-BFBB-B7AB-90882D9A5B1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D98072C-FDC6-CB6A-85B7-9B552507FF3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9281F7F-9002-E02E-22E3-1E6F0FC3D478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3BECDCE8-2139-A8ED-F2C7-000B8132E8E5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F9EB2EA-F309-223E-20AD-D3A7DCBDC280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D6B774D8-A8C3-D97F-CEE4-EE56CD1FD905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A7A53A4E-7D6D-0D7F-BDAA-8A9EEBDB05D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2F06209C-C0F9-20CC-0531-6EBC18E01A28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ECAF493D-E7B0-E1FD-509B-7764FAC0F7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7868C6A-AD2D-FDF9-8250-035E4FD5787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Rita dit « C’est une fenêtre. ». </a:t>
            </a:r>
          </a:p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11260343-0B49-4356-E6C4-1F259A6381B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69319" y="2294167"/>
            <a:ext cx="5046968" cy="1470468"/>
          </a:xfrm>
          <a:prstGeom prst="wedgeEllipseCallout">
            <a:avLst>
              <a:gd name="adj1" fmla="val 12422"/>
              <a:gd name="adj2" fmla="val 8700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90">
              <a:defRPr/>
            </a:pPr>
            <a:r>
              <a:rPr lang="fr-FR" sz="36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’est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e fenêtre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7561AF2-5A7A-FD75-B06B-E3568236999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6" name="Image 5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34DAF0F2-E376-DEB5-7ED3-C746D2E573C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90312" y="4228068"/>
            <a:ext cx="2657470" cy="449526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865A9212-46E2-E0D1-A412-26EAA7ADA4A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5708" y="4556350"/>
            <a:ext cx="2296417" cy="3838699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B63870-CED9-124E-9BB8-FCA2EA84A2B6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9277705" y="4523809"/>
            <a:ext cx="2858877" cy="2750586"/>
          </a:xfrm>
          <a:prstGeom prst="rect">
            <a:avLst/>
          </a:prstGeom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DAE2DAE1-B51C-24E2-C12C-0148236C132E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81291688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2438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A012A8-81D5-A64C-9938-561E062037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748F4177-3B96-C40F-D534-9195EA5BB4B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C2E9BE43-33B5-9ED3-64F3-A9E74D95C2B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D97A4A4-8A75-A386-93AA-02BF461418C6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FB4F549-242F-95FD-BFDD-75EFDDAE769F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0EC6C452-8064-6026-1CA7-F5324F5A182A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1064DB8-9765-C7F4-A42A-AD8B44DA48CD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C2A63F61-470C-A4DD-D38E-A884BAF16C50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C1C612E3-F6E8-7387-D383-3A2E40C585D5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38EA8D5-78F6-7761-5EAA-FA353A110A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75158" y="81373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7628AF7-6870-5182-F1ED-E7854730160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55984" y="697808"/>
            <a:ext cx="10001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e signifie « C’est une fenêtre. »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</a:rPr>
              <a:t>en arabe ? 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973FEDC-00D6-B479-90B0-C378C876059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1099197" y="574565"/>
            <a:ext cx="1828959" cy="1268078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374D5D46-E6B5-E44F-E412-24797F69BE2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069319" y="2294167"/>
            <a:ext cx="5046968" cy="1470468"/>
          </a:xfrm>
          <a:prstGeom prst="wedgeEllipseCallout">
            <a:avLst>
              <a:gd name="adj1" fmla="val 12422"/>
              <a:gd name="adj2" fmla="val 8700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90">
              <a:defRPr/>
            </a:pPr>
            <a:r>
              <a:rPr lang="fr-FR" sz="36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’est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e fenêtre.</a:t>
            </a:r>
          </a:p>
        </p:txBody>
      </p:sp>
      <p:pic>
        <p:nvPicPr>
          <p:cNvPr id="19" name="Image 18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52914B80-91BD-51EF-6D0C-6CC7BDAE4892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90312" y="4228068"/>
            <a:ext cx="2657470" cy="4495262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60D68727-405A-617D-43F4-2F003FFCE16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5708" y="4556350"/>
            <a:ext cx="2296417" cy="3838699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7F46E25-7F21-F6E0-A986-6F351BB85C34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9277705" y="4523809"/>
            <a:ext cx="2858877" cy="2750586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E404216E-32CF-2A04-B5A7-7590AA342A96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15591875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83813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7DF1A8-8D9F-411A-B8FB-957CA84E2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46A6DB88-7E50-A6B6-855F-F0DA387A87F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87957" y="67575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E180AEA-334F-A507-17F1-5A51FD00378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’est-ce que c’est ? 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08087DE-60BC-F6F1-9784-1B9D2859245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6CC5D2C5-AE35-31AB-866E-5D2930A977C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472748" y="3625959"/>
            <a:ext cx="2493616" cy="4827493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FFB6784A-668F-FC23-627E-56128942A67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97876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F626D-5665-BFE5-AD5B-CA712B3EC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D781BEEB-75F9-8D6F-FBAF-83803CBB47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87957" y="67575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87519C9-070E-3F1F-CF92-9776F8765A7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’est-ce que c’est ? 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B93C3C5-2C07-307F-B3AF-C7BB5AB7ABA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253FC720-4B55-CF65-2AB3-DD33071C2A5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84572939"/>
              </p:ext>
            </p:ext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32B3FB01-7EAA-5542-AEE4-3A108F96B87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360687" y="3293242"/>
            <a:ext cx="3009596" cy="370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6841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19061A-69EB-8B68-C0F3-7168D6AC2A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6FD4732E-55EB-6563-6677-29A7727277B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87957" y="67575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C63443D-0447-1E35-402F-9325539E406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’est-ce que c’est ? 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405BA3C-BB5B-F350-D30B-168BDBC8C83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25A21048-2205-506C-D50D-6A0B5F058CA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Écri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4F730605-071B-976C-EA1D-CC4C5B57D00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 rot="647580">
            <a:off x="5050741" y="2921345"/>
            <a:ext cx="3614518" cy="444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5704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7C2245-F486-D1D7-E3D4-9FA95ED79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60A7A3D6-D4D4-CC8A-BA9B-80C35DFABE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44E9FFE-8356-1D18-B264-436E99C28C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1013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lettr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Qu’est-ce que c’est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C’est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3. Écritur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Écrire la lettre L en minuscule et en majuscule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C1D849F-3B5F-61B1-897E-E1FF716F33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FC15F88-B596-9CA2-3025-B9427E0615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739DBF0-417B-F941-918F-006125B83B5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666499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0D684207-5370-B0B9-4E7D-2DCF37AFFC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3 </a:t>
            </a:r>
          </a:p>
        </p:txBody>
      </p:sp>
    </p:spTree>
    <p:extLst>
      <p:ext uri="{BB962C8B-B14F-4D97-AF65-F5344CB8AC3E}">
        <p14:creationId xmlns:p14="http://schemas.microsoft.com/office/powerpoint/2010/main" val="7309719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801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274939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3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 l’activité 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467100"/>
            <a:ext cx="110392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556128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3B066AEB-6B71-642E-1C2E-E7CACD2CBDB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67488" y="4418770"/>
            <a:ext cx="504425" cy="54906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817758" y="4525824"/>
            <a:ext cx="11135299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re la lettre L en minuscule et en majuscule.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A637322D-161D-66E2-429A-1F249575653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67488" y="5376042"/>
            <a:ext cx="504425" cy="549067"/>
          </a:xfrm>
          <a:prstGeom prst="rect">
            <a:avLst/>
          </a:prstGeom>
        </p:spPr>
      </p:pic>
      <p:sp>
        <p:nvSpPr>
          <p:cNvPr id="13" name="TextBox 10">
            <a:extLst>
              <a:ext uri="{FF2B5EF4-FFF2-40B4-BE49-F238E27FC236}">
                <a16:creationId xmlns:a16="http://schemas.microsoft.com/office/drawing/2014/main" id="{57B4C8A3-379D-945D-5CDD-46B42184E56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17758" y="5483096"/>
            <a:ext cx="11135299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re  des syllabes.</a:t>
            </a:r>
          </a:p>
        </p:txBody>
      </p:sp>
    </p:spTree>
    <p:extLst>
      <p:ext uri="{BB962C8B-B14F-4D97-AF65-F5344CB8AC3E}">
        <p14:creationId xmlns:p14="http://schemas.microsoft.com/office/powerpoint/2010/main" val="4004561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183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0385" y="810186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45165" y="594285"/>
            <a:ext cx="12227935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jourd’hui, nous allons apprendre à écrire la lettre l.</a:t>
            </a:r>
          </a:p>
        </p:txBody>
      </p: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3C397133-3B63-D0EF-FD33-E67E0051484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EEAEF4CB-2D3D-E65E-2E2D-A7EA0C5F639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F8BA30D5-F842-8174-EEA4-123688E6F2B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l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0855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0B2665-851D-5817-D641-7774DA33899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F436113-2632-84B4-3579-C1E413C2C5B1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E6C9AB5C-6CBB-BD2F-C21F-876A5C4DE4B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18" name="Rectangle : coins arrondis 17">
                <a:extLst>
                  <a:ext uri="{FF2B5EF4-FFF2-40B4-BE49-F238E27FC236}">
                    <a16:creationId xmlns:a16="http://schemas.microsoft.com/office/drawing/2014/main" id="{CE49FEBD-08A4-E378-78EE-49BEF6B114FD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9" name="Groupe 18">
                <a:extLst>
                  <a:ext uri="{FF2B5EF4-FFF2-40B4-BE49-F238E27FC236}">
                    <a16:creationId xmlns:a16="http://schemas.microsoft.com/office/drawing/2014/main" id="{BA9739E2-6692-63F8-F68E-EDFC00C2A013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1" name="Rectangle : coins arrondis 20">
                  <a:extLst>
                    <a:ext uri="{FF2B5EF4-FFF2-40B4-BE49-F238E27FC236}">
                      <a16:creationId xmlns:a16="http://schemas.microsoft.com/office/drawing/2014/main" id="{4FCE06C6-1C3D-35EC-6CDA-CD3DEC2FBCBC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DA6DB58-6797-11BB-A452-C76C8A378BE8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63EB4A4-3A46-952B-7425-A46965B3E7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42900" y="1485901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srgbClr val="106585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7069" y="68687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85899" y="534339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a lettre l. Elle fait le son «l »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i veut répéter « l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» ? </a:t>
            </a:r>
          </a:p>
        </p:txBody>
      </p:sp>
      <p:graphicFrame>
        <p:nvGraphicFramePr>
          <p:cNvPr id="23" name="Tableau 22">
            <a:extLst>
              <a:ext uri="{FF2B5EF4-FFF2-40B4-BE49-F238E27FC236}">
                <a16:creationId xmlns:a16="http://schemas.microsoft.com/office/drawing/2014/main" id="{0FFEF522-D194-32CD-5357-D4DA01C3DAB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09242A7C-F3FB-76D9-E671-71EF41D77A9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4D6F09EA-E9C0-A1C1-7551-8F0BC9868ED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l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776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67983" y="794389"/>
            <a:ext cx="345516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71588" y="616270"/>
            <a:ext cx="10632983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 vais écrire la lettre l sur le tableau. Regardez comment je fais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AA8F882-86C9-058D-06A8-240185C8A99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8" name="Image 17">
            <a:extLst>
              <a:ext uri="{FF2B5EF4-FFF2-40B4-BE49-F238E27FC236}">
                <a16:creationId xmlns:a16="http://schemas.microsoft.com/office/drawing/2014/main" id="{18DE32DE-2055-3762-8F39-4BD22514AF8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rcRect t="-1" r="20017" b="6507"/>
          <a:stretch/>
        </p:blipFill>
        <p:spPr>
          <a:xfrm>
            <a:off x="11904571" y="646795"/>
            <a:ext cx="1301897" cy="1238825"/>
          </a:xfrm>
          <a:prstGeom prst="ellipse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324250C7-2C41-BAF2-CED4-03EDBF9BA0F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6138282" y="3274592"/>
            <a:ext cx="1439436" cy="3737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850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983A0D2-E856-115C-0C4A-E683175BEEE6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175E43C-E1FE-EDDA-88E3-353D8280154E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85AC2355-3DB6-0D06-EE8E-1E68B568F6A7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12" name="Rectangle : coins arrondis 11">
                <a:extLst>
                  <a:ext uri="{FF2B5EF4-FFF2-40B4-BE49-F238E27FC236}">
                    <a16:creationId xmlns:a16="http://schemas.microsoft.com/office/drawing/2014/main" id="{9D8DE82B-AEE0-416F-CEE2-E231A194F9BB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3" name="Groupe 12">
                <a:extLst>
                  <a:ext uri="{FF2B5EF4-FFF2-40B4-BE49-F238E27FC236}">
                    <a16:creationId xmlns:a16="http://schemas.microsoft.com/office/drawing/2014/main" id="{0C0A6AE6-EA6C-3090-8676-2D35C9451FC9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15" name="Rectangle : coins arrondis 14">
                  <a:extLst>
                    <a:ext uri="{FF2B5EF4-FFF2-40B4-BE49-F238E27FC236}">
                      <a16:creationId xmlns:a16="http://schemas.microsoft.com/office/drawing/2014/main" id="{7D2B40C5-A88D-F492-0348-E7185C43AEC7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44C945C7-1548-1CA8-0426-BEE02238B32F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6A2EB083-BFB1-14C1-6D88-449D1662BA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5852" y="300300"/>
            <a:ext cx="13164293" cy="9720000"/>
          </a:xfrm>
          <a:prstGeom prst="roundRect">
            <a:avLst>
              <a:gd name="adj" fmla="val 222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D20A7842-31D1-E83A-106C-F4974ABD947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1021" y="317191"/>
            <a:ext cx="13154395" cy="1066800"/>
          </a:xfrm>
          <a:prstGeom prst="roundRect">
            <a:avLst>
              <a:gd name="adj" fmla="val 14434"/>
            </a:avLst>
          </a:prstGeom>
          <a:solidFill>
            <a:schemeClr val="bg1">
              <a:lumMod val="95000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63EB4A4-3A46-952B-7425-A46965B3E72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42897" y="1553519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85852" y="707385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22408" y="449753"/>
            <a:ext cx="12227935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 doigt</a:t>
            </a:r>
            <a:endParaRPr kumimoji="0" lang="fr-FR" sz="22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CDCAB31-A21D-CCF8-FB9D-037DB6EC96C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flipV="1">
            <a:off x="6476999" y="4152899"/>
            <a:ext cx="152400" cy="15239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C87C69E-F24F-42A2-E36B-A4C25096BAF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086600" y="4229100"/>
            <a:ext cx="152400" cy="152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7" name="Tableau 16">
            <a:extLst>
              <a:ext uri="{FF2B5EF4-FFF2-40B4-BE49-F238E27FC236}">
                <a16:creationId xmlns:a16="http://schemas.microsoft.com/office/drawing/2014/main" id="{964E9903-F4C0-C95C-1E37-DAB9FB818802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CB51ECA7-A790-0642-DAEB-4B995D1E74F6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89023DB6-2940-965F-5079-403ADAC1458D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5144650" y="2878242"/>
            <a:ext cx="3383728" cy="4530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73984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26906" y="825015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85863" y="604451"/>
            <a:ext cx="12120891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tenant, tracez la lettre l en l’air avec le doigt.  </a:t>
            </a: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BC34AFF0-2DB3-AD0D-0A55-847357D971E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26BA8C27-2AD6-E69C-034B-31925AD391D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3750" b="94375" l="3975" r="89854">
                        <a14:foregroundMark x1="17155" y1="3828" x2="17155" y2="18359"/>
                        <a14:foregroundMark x1="11192" y1="13906" x2="4079" y2="16484"/>
                        <a14:foregroundMark x1="20084" y1="48281" x2="15063" y2="59375"/>
                        <a14:foregroundMark x1="15063" y1="59375" x2="15063" y2="59688"/>
                        <a14:foregroundMark x1="18828" y1="60938" x2="31067" y2="71563"/>
                        <a14:foregroundMark x1="31067" y1="71563" x2="41423" y2="88594"/>
                        <a14:foregroundMark x1="41423" y1="88594" x2="34414" y2="9437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625080" y="575875"/>
            <a:ext cx="1333683" cy="1785685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7F74E07C-1377-B526-DF15-E90DBA34C51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6138282" y="3274592"/>
            <a:ext cx="1439436" cy="3737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13867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223" y="8053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8849" y="717737"/>
            <a:ext cx="12023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renez vos ardoises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66ED6EF-AFFD-DF1E-A521-AC8DEF56AD7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86735" y="2445399"/>
            <a:ext cx="6057078" cy="4682945"/>
          </a:xfrm>
          <a:prstGeom prst="rect">
            <a:avLst/>
          </a:prstGeom>
        </p:spPr>
      </p:pic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1235AB2B-3D73-F1B1-C598-5EAB077DE5F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7F2BFFC0-6AB5-DD6B-ECA0-FB9E9EFD9D3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9863" y="684420"/>
            <a:ext cx="1306999" cy="1136829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93768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3710" y="832063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09864" y="571087"/>
            <a:ext cx="11296271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Écrivez la lettre l.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9DD199E0-E065-2581-4631-B9E400B5120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4B33BED6-6C5D-CBDF-B5B4-2334A68608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58040" y="795025"/>
            <a:ext cx="1658224" cy="91913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773F77A1-1337-6BFB-EAA9-D4E26FDEBA0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l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98009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96B78A-CF6D-7092-0124-373FADEC03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00BA6A3-E15D-CEA4-0A6B-9A7062C625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0400B04A-CC1E-622E-29FF-85BD4D0B650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C6DF2B3-0108-33A6-EF2D-EBD7245F1EDF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EEC15A9-19DD-2727-61CF-86D6107B5725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07A9E8EA-3A9B-CC96-CE59-55A82A40D17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A9E93467-CA91-BF87-0283-6674C68671B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AF28B5DC-6B70-1C93-652D-0F60ADA5F435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595A592-E71B-4180-D5AB-8DC2B2F052FF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E00D6B6D-F83D-1605-B384-4EF5618003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23C8FB0-0D65-BD9F-B9D9-87482D9BE1F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A3D1797-2ABA-3417-45E3-3D739B1851A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600A0AA0-BF0C-0373-B1D3-F4C2934EB27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444004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6745B0D6-F6BE-738E-C7D5-EE81E5326F57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C327E97-B8EA-2CB4-5486-726DE77AC20F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AE078784-8BC9-1DAB-CF3D-95E1EBE0544A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9" name="Rectangle : coins arrondis 8">
                <a:extLst>
                  <a:ext uri="{FF2B5EF4-FFF2-40B4-BE49-F238E27FC236}">
                    <a16:creationId xmlns:a16="http://schemas.microsoft.com/office/drawing/2014/main" id="{2302BE8B-BD83-3294-44E4-2EF459658DBC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0" name="Groupe 9">
                <a:extLst>
                  <a:ext uri="{FF2B5EF4-FFF2-40B4-BE49-F238E27FC236}">
                    <a16:creationId xmlns:a16="http://schemas.microsoft.com/office/drawing/2014/main" id="{161D2F40-6E7B-775E-1879-9262F57F77CD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11" name="Rectangle : coins arrondis 10">
                  <a:extLst>
                    <a:ext uri="{FF2B5EF4-FFF2-40B4-BE49-F238E27FC236}">
                      <a16:creationId xmlns:a16="http://schemas.microsoft.com/office/drawing/2014/main" id="{42296624-1EB0-6649-8240-5A8EB91B22BD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39402BF7-46ED-1B6B-6D82-626F18388DA1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63EB4A4-3A46-952B-7425-A46965B3E7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42900" y="1485901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782" y="840984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31227" y="746209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’est la lettre l en majuscule. Elle fait le son « l ». 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491FB1A5-8B7A-72AC-3F1C-98F91D9A987E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3F391647-629C-6B7D-A486-691573E07C9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E91379A3-E8FA-4A23-930F-390FBFC7370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57186" y="2336669"/>
            <a:ext cx="13030200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0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L </a:t>
            </a:r>
            <a:endParaRPr kumimoji="0" lang="fr-FR" sz="350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9667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38120" y="840012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AA5BBB0D-2CC7-F3B2-E206-A3F130E62D3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56409" y="763323"/>
            <a:ext cx="12710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 vais écrire la lettre l en majuscule au tableau. Regardez comment je fais.</a:t>
            </a:r>
          </a:p>
        </p:txBody>
      </p:sp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058CD46E-CED5-5AA6-4A37-498A5FB4F0B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9" name="Image 18">
            <a:extLst>
              <a:ext uri="{FF2B5EF4-FFF2-40B4-BE49-F238E27FC236}">
                <a16:creationId xmlns:a16="http://schemas.microsoft.com/office/drawing/2014/main" id="{2BA4CE40-7740-59D1-4903-51EA704438C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rcRect t="-1" r="20017" b="6507"/>
          <a:stretch/>
        </p:blipFill>
        <p:spPr>
          <a:xfrm>
            <a:off x="11904571" y="646795"/>
            <a:ext cx="1301897" cy="1238825"/>
          </a:xfrm>
          <a:prstGeom prst="ellipse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4F7B5D6-2B3D-D831-488C-DCDB8756FFF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538603" y="2959776"/>
            <a:ext cx="2638794" cy="436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7763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26352967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C9A4AD-B9B7-0992-706A-32541C3FC1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BA9A0C56-4BC2-4699-BDC5-1B6B306006BE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2C8966-222F-0369-8C29-8CA067E2378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BC3E2152-D568-2ED2-555D-A6F5EC702815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12" name="Rectangle : coins arrondis 11">
                <a:extLst>
                  <a:ext uri="{FF2B5EF4-FFF2-40B4-BE49-F238E27FC236}">
                    <a16:creationId xmlns:a16="http://schemas.microsoft.com/office/drawing/2014/main" id="{F9E888AC-A199-9C90-2575-E9046FB3270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3" name="Groupe 12">
                <a:extLst>
                  <a:ext uri="{FF2B5EF4-FFF2-40B4-BE49-F238E27FC236}">
                    <a16:creationId xmlns:a16="http://schemas.microsoft.com/office/drawing/2014/main" id="{47360699-AA23-CABE-6B29-24072186660D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15" name="Rectangle : coins arrondis 14">
                  <a:extLst>
                    <a:ext uri="{FF2B5EF4-FFF2-40B4-BE49-F238E27FC236}">
                      <a16:creationId xmlns:a16="http://schemas.microsoft.com/office/drawing/2014/main" id="{3C91C83D-B26E-66EE-718E-B2B1206FCD5C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5410ADF6-AB16-ADFE-888D-B2FB022E398E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681B1752-C1B8-46FE-275C-A8A68EB5FC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5852" y="300300"/>
            <a:ext cx="13164293" cy="9720000"/>
          </a:xfrm>
          <a:prstGeom prst="roundRect">
            <a:avLst>
              <a:gd name="adj" fmla="val 222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AAD18FF4-55C5-3408-A16C-9001FD867E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1021" y="317191"/>
            <a:ext cx="13154395" cy="1066800"/>
          </a:xfrm>
          <a:prstGeom prst="roundRect">
            <a:avLst>
              <a:gd name="adj" fmla="val 14434"/>
            </a:avLst>
          </a:prstGeom>
          <a:solidFill>
            <a:schemeClr val="bg1">
              <a:lumMod val="95000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0ABF934-A073-0156-18E6-705DB665BC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42897" y="1553519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8A524720-D28C-BD90-E516-607FF07518A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97775" y="802230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0D508E9-C65D-4274-E415-27AB8FD75D8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234331" y="544598"/>
            <a:ext cx="12227935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 doigt</a:t>
            </a:r>
            <a:endParaRPr kumimoji="0" lang="fr-FR" sz="22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A44FC88-0D63-65DF-C65D-7B2C4F65C63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flipV="1">
            <a:off x="6476999" y="4152899"/>
            <a:ext cx="152400" cy="15239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2B1F5938-7DB9-6181-587E-2523FC0A674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086600" y="4229100"/>
            <a:ext cx="152400" cy="152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7" name="Tableau 16">
            <a:extLst>
              <a:ext uri="{FF2B5EF4-FFF2-40B4-BE49-F238E27FC236}">
                <a16:creationId xmlns:a16="http://schemas.microsoft.com/office/drawing/2014/main" id="{63B3E6AD-307F-9ED9-F825-B4E27D2313B4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62F63EB9-509F-1A07-F9D5-D6128326FB1C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5144650" y="2878242"/>
            <a:ext cx="3383728" cy="4530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95094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539FD-409A-2F78-E371-C53EFB493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">
            <a:extLst>
              <a:ext uri="{FF2B5EF4-FFF2-40B4-BE49-F238E27FC236}">
                <a16:creationId xmlns:a16="http://schemas.microsoft.com/office/drawing/2014/main" id="{A6076EB3-277A-02EA-4817-E4BD1731EB9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26906" y="796439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D226640-FE2A-DA40-BFFA-96B4B75914F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43013" y="575875"/>
            <a:ext cx="12063741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tenant, tracez la lettre l majuscule en l’air avec le doigt.  </a:t>
            </a: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F16D72B0-2E76-E485-910C-5BFC422E9FF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EBCE9DA8-2D66-CDCB-1698-3EEA2439F6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3750" b="94375" l="3975" r="89854">
                        <a14:foregroundMark x1="17155" y1="3828" x2="17155" y2="18359"/>
                        <a14:foregroundMark x1="11192" y1="13906" x2="4079" y2="16484"/>
                        <a14:foregroundMark x1="20084" y1="48281" x2="15063" y2="59375"/>
                        <a14:foregroundMark x1="15063" y1="59375" x2="15063" y2="59688"/>
                        <a14:foregroundMark x1="18828" y1="60938" x2="31067" y2="71563"/>
                        <a14:foregroundMark x1="31067" y1="71563" x2="41423" y2="88594"/>
                        <a14:foregroundMark x1="41423" y1="88594" x2="34414" y2="9437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625080" y="575875"/>
            <a:ext cx="1333683" cy="178568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D6E5A7EB-E0D2-5F1E-14A4-4A26553614B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5538603" y="2959776"/>
            <a:ext cx="2638794" cy="436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818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63EB4A4-3A46-952B-7425-A46965B3E72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0" y="1485901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0979" y="802046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20698" y="593647"/>
            <a:ext cx="10723654" cy="546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enez vos ardoises et écrivez la lettre l en majuscule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5159D94-A626-2CE2-DE46-4CACB11C5F1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57974" y="2842863"/>
            <a:ext cx="7186176" cy="5555891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D9BA79AA-1088-1A5B-BBFE-A5CDEE33A5B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59F9451A-C328-68B1-01A7-EF1B84CCF24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5020" y="720508"/>
            <a:ext cx="1938664" cy="107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62277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78F089-889B-87B6-0591-F191D3929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843A89D7-053F-03D1-408B-C62601A628B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F6F31AA-D977-8209-1045-ED74E7F93E9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4D27285-988E-2EF8-885E-8ACBC7D1BB6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529BB99A-6A9F-00DE-A9FF-E6F0C6FE1EE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7453B1F-2478-3590-2C72-F0C1A1F07249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CA6B0082-8F6D-4DF7-8826-C417E9BA43A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C28123A8-346C-D79E-0F4F-D7ED369ED4E7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D4DC20-95C4-8F8C-65A3-E06F8D2E968E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A7D2E1EB-858E-624C-2EC8-85E65843AF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85A5FFF-67CC-9194-C423-276684496A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953CD38-042A-AF75-E4CB-57ECC495590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EBB3A263-5CB7-95D8-DFCB-941352D9EAD2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332346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ECF20E-FF45-A43A-6F3A-99B7D48DB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">
            <a:extLst>
              <a:ext uri="{FF2B5EF4-FFF2-40B4-BE49-F238E27FC236}">
                <a16:creationId xmlns:a16="http://schemas.microsoft.com/office/drawing/2014/main" id="{01032046-D188-65BB-F18E-E78D3BE3000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DF5453-4153-358A-36D5-F86A47E71BE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46424" y="634508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 et un crayon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A3E845F-604F-C835-1434-6653962B027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699334" y="2571317"/>
            <a:ext cx="3999271" cy="5710896"/>
          </a:xfrm>
          <a:prstGeom prst="rect">
            <a:avLst/>
          </a:prstGeom>
        </p:spPr>
      </p:pic>
      <p:pic>
        <p:nvPicPr>
          <p:cNvPr id="4" name="Image 3" descr="Une image contenant dessin, croquis, briquet, illustration&#10;&#10;Description générée automatiquement">
            <a:extLst>
              <a:ext uri="{FF2B5EF4-FFF2-40B4-BE49-F238E27FC236}">
                <a16:creationId xmlns:a16="http://schemas.microsoft.com/office/drawing/2014/main" id="{6ED62753-EA9F-94B6-0569-6B6CE03A9D3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992" y="4190466"/>
            <a:ext cx="2010942" cy="247259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99577B13-6923-0D00-948F-1DE0691CD30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8206" y="1111691"/>
            <a:ext cx="124973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&gt;  </a:t>
            </a: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Si  les élèves ne disposent pas de livret,  l’activité doit </a:t>
            </a:r>
            <a:r>
              <a:rPr kumimoji="0" lang="fr-FR" sz="20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être réalisée sur </a:t>
            </a: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osis"/>
                <a:ea typeface="+mn-ea"/>
                <a:cs typeface="+mn-cs"/>
              </a:rPr>
              <a:t>les cahiers à partir du modèle affiché à l’écran. 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BC5ABFAF-6C55-9CF0-5692-6EAC7F3D0B93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1222280" y="-28576"/>
          <a:ext cx="1116498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1661">
                  <a:extLst>
                    <a:ext uri="{9D8B030D-6E8A-4147-A177-3AD203B41FA5}">
                      <a16:colId xmlns:a16="http://schemas.microsoft.com/office/drawing/2014/main" val="2671328085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721661">
                  <a:extLst>
                    <a:ext uri="{9D8B030D-6E8A-4147-A177-3AD203B41FA5}">
                      <a16:colId xmlns:a16="http://schemas.microsoft.com/office/drawing/2014/main" val="1915038765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Écriture </a:t>
                      </a:r>
                      <a:endParaRPr lang="fr-FR" sz="1800" dirty="0">
                        <a:solidFill>
                          <a:schemeClr val="bg1"/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60391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4EDD629C-DEB6-EF56-BE04-277E91383D8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0" name="Freeform 8">
            <a:extLst>
              <a:ext uri="{FF2B5EF4-FFF2-40B4-BE49-F238E27FC236}">
                <a16:creationId xmlns:a16="http://schemas.microsoft.com/office/drawing/2014/main" id="{1A6C8F40-046A-D562-4E97-F761077A29E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 flipH="1">
            <a:off x="712019" y="790333"/>
            <a:ext cx="364161" cy="31857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02C822F5-D118-EF17-441A-34FD6190E26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7300" y="710527"/>
            <a:ext cx="6558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ez à la page 26.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90AA06D1-2946-1283-742C-17523ECD057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4350" y="577671"/>
            <a:ext cx="1282512" cy="1115530"/>
          </a:xfrm>
          <a:prstGeom prst="rect">
            <a:avLst/>
          </a:prstGeom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BAB9100A-CBAD-5D5C-7FDE-3C6AD2FA845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4035625" y="1693200"/>
            <a:ext cx="5737023" cy="8131303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FDA06A-2F7B-BC3B-F054-EFA04E03B3C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871910" y="2771774"/>
            <a:ext cx="5815011" cy="16573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476386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1A3279-11C3-B735-0761-431161D0A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61601A7-CF3C-5F6B-F41F-13EBFF875834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1"/>
            <a:ext cx="13716000" cy="10286999"/>
            <a:chOff x="0" y="1"/>
            <a:chExt cx="9144000" cy="685799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B577C40-E5BF-5A33-3633-D8D1A4F8A19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1403637C-6DF6-53A0-9A1A-B3E95913B06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10BCFF06-2F5A-50AB-3E33-E432165034B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id="{EA6AABD4-0512-68D0-3E8E-B956D434FF9F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12" name="Rectangle : coins arrondis 11">
                  <a:extLst>
                    <a:ext uri="{FF2B5EF4-FFF2-40B4-BE49-F238E27FC236}">
                      <a16:creationId xmlns:a16="http://schemas.microsoft.com/office/drawing/2014/main" id="{04EEBC8A-224D-8270-3EFC-7CA45C7BCC3E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3DD4D321-6EBF-93E9-FD39-E2AEB82143C0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6" name="Freeform 8">
            <a:extLst>
              <a:ext uri="{FF2B5EF4-FFF2-40B4-BE49-F238E27FC236}">
                <a16:creationId xmlns:a16="http://schemas.microsoft.com/office/drawing/2014/main" id="{A7E40AAE-A75E-3F1E-C316-DA2D02306E1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8662" y="630538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0FAC788-4730-067C-885A-FEBFBBC9C46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11358" y="539065"/>
            <a:ext cx="1152939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ctivité 1. J’écris la lettre l en minuscule et en majuscule.</a:t>
            </a:r>
            <a:endParaRPr kumimoji="0" lang="ar-MA" sz="24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 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Je vais circuler entre les rangs pour vous aider.</a:t>
            </a:r>
          </a:p>
        </p:txBody>
      </p:sp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9ADD39F4-D318-87F7-0B8B-F1807E993B9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8574" y="-36410"/>
          <a:ext cx="13687425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2475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22424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Écri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7FCD3040-7B6A-3E2C-B036-8DB72764C7D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DBDB9CB-2D86-15FB-E767-C17F4DBA355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632207" y="3440281"/>
            <a:ext cx="12487685" cy="3903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0318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1" y="548413"/>
            <a:ext cx="1218167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!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405968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À demain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43962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6" y="1287661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86" y="1287661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/>
        </p:nvSpPr>
        <p:spPr>
          <a:xfrm>
            <a:off x="6813727" y="8681309"/>
            <a:ext cx="96490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2" tIns="51413" rIns="102862" bIns="51413" anchor="ctr" anchorCtr="0">
            <a:noAutofit/>
          </a:bodyPr>
          <a:lstStyle/>
          <a:p>
            <a:pPr algn="ctr" defTabSz="1371566">
              <a:buClr>
                <a:srgbClr val="000000"/>
              </a:buClr>
              <a:buSzPts val="1800"/>
              <a:defRPr/>
            </a:pPr>
            <a:endParaRPr sz="3150" b="1" kern="0">
              <a:solidFill>
                <a:srgbClr val="000000"/>
              </a:solidFill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/>
        </p:nvSpPr>
        <p:spPr>
          <a:xfrm>
            <a:off x="136334" y="8529247"/>
            <a:ext cx="3148070" cy="415198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8700">
              <a:defRPr/>
            </a:pPr>
            <a:endParaRPr lang="fr-FR" sz="2250" b="1">
              <a:solidFill>
                <a:srgbClr val="FFFFFF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/>
        </p:nvSpPr>
        <p:spPr>
          <a:xfrm>
            <a:off x="136334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lang="en-GB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ctr" defTabSz="1028700" rtl="1"/>
            <a:r>
              <a:rPr lang="ar-MA" sz="40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(استمارة موجهة للأساتذة)</a:t>
            </a:r>
            <a:endParaRPr lang="fr-FR" sz="405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/>
        </p:nvSpPr>
        <p:spPr>
          <a:xfrm>
            <a:off x="5409085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ولوج عبر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hlinkClick r:id="rId6"/>
              </a:rPr>
              <a:t>الرابط أسفله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: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/>
        </p:nvSpPr>
        <p:spPr>
          <a:xfrm>
            <a:off x="-912437" y="3179076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225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مسح رمز الاستجابة السريعة 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(</a:t>
            </a:r>
            <a:r>
              <a:rPr lang="en-GB" sz="3600" b="1" dirty="0" err="1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Qr</a:t>
            </a:r>
            <a:r>
              <a:rPr lang="en-GB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code)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/>
        </p:nvSpPr>
        <p:spPr>
          <a:xfrm>
            <a:off x="5808658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28700" rtl="1"/>
            <a:r>
              <a:rPr lang="ar-MA" sz="3600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أو</a:t>
            </a:r>
            <a:endParaRPr lang="fr-FR" sz="3600" b="1" dirty="0">
              <a:solidFill>
                <a:srgbClr val="0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/>
        </p:nvSpPr>
        <p:spPr>
          <a:xfrm>
            <a:off x="6672280" y="5930679"/>
            <a:ext cx="733991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700"/>
            <a:r>
              <a:rPr lang="fr-FR" b="1" dirty="0">
                <a:solidFill>
                  <a:srgbClr val="0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https://forms.gle/MPZzCzLAsK9AdG8x7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0540" y="4244656"/>
            <a:ext cx="4547728" cy="454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74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205267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è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1496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29</TotalTime>
  <Words>1524</Words>
  <PresentationFormat>Personnalisé</PresentationFormat>
  <Paragraphs>309</Paragraphs>
  <Slides>60</Slides>
  <Notes>1</Notes>
  <HiddenSlides>0</HiddenSlides>
  <MMClips>3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0</vt:i4>
      </vt:variant>
    </vt:vector>
  </HeadingPairs>
  <TitlesOfParts>
    <vt:vector size="76" baseType="lpstr">
      <vt:lpstr>Cambria</vt:lpstr>
      <vt:lpstr>Traditional Arabic</vt:lpstr>
      <vt:lpstr>Dosis</vt:lpstr>
      <vt:lpstr>Carelia</vt:lpstr>
      <vt:lpstr>Dosis Bold</vt:lpstr>
      <vt:lpstr>KG Primary Penmanship Alt</vt:lpstr>
      <vt:lpstr>Arial</vt:lpstr>
      <vt:lpstr>Helvetica Neue Light</vt:lpstr>
      <vt:lpstr>Montserrat</vt:lpstr>
      <vt:lpstr>Calibri</vt:lpstr>
      <vt:lpstr>Calibri </vt:lpstr>
      <vt:lpstr>1_Office Theme</vt:lpstr>
      <vt:lpstr>Office Theme</vt:lpstr>
      <vt:lpstr>2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12T10:26:43Z</dcterms:modified>
</cp:coreProperties>
</file>